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4115" r:id="rId5"/>
    <p:sldMasterId id="2147484185" r:id="rId6"/>
  </p:sldMasterIdLst>
  <p:notesMasterIdLst>
    <p:notesMasterId r:id="rId37"/>
  </p:notesMasterIdLst>
  <p:handoutMasterIdLst>
    <p:handoutMasterId r:id="rId38"/>
  </p:handoutMasterIdLst>
  <p:sldIdLst>
    <p:sldId id="969" r:id="rId7"/>
    <p:sldId id="1213" r:id="rId8"/>
    <p:sldId id="1216" r:id="rId9"/>
    <p:sldId id="971" r:id="rId10"/>
    <p:sldId id="3571" r:id="rId11"/>
    <p:sldId id="1219" r:id="rId12"/>
    <p:sldId id="3500" r:id="rId13"/>
    <p:sldId id="3507" r:id="rId14"/>
    <p:sldId id="3512" r:id="rId15"/>
    <p:sldId id="1221" r:id="rId16"/>
    <p:sldId id="3508" r:id="rId17"/>
    <p:sldId id="3506" r:id="rId18"/>
    <p:sldId id="3524" r:id="rId19"/>
    <p:sldId id="3514" r:id="rId20"/>
    <p:sldId id="3503" r:id="rId21"/>
    <p:sldId id="3530" r:id="rId22"/>
    <p:sldId id="3516" r:id="rId23"/>
    <p:sldId id="3551" r:id="rId24"/>
    <p:sldId id="3569" r:id="rId25"/>
    <p:sldId id="3517" r:id="rId26"/>
    <p:sldId id="3570" r:id="rId27"/>
    <p:sldId id="3519" r:id="rId28"/>
    <p:sldId id="3572" r:id="rId29"/>
    <p:sldId id="3574" r:id="rId30"/>
    <p:sldId id="3520" r:id="rId31"/>
    <p:sldId id="598" r:id="rId32"/>
    <p:sldId id="3521" r:id="rId33"/>
    <p:sldId id="3535" r:id="rId34"/>
    <p:sldId id="3522" r:id="rId35"/>
    <p:sldId id="976"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EA1F98-5E1B-99F5-58E7-EACF91BF7033}" name="Miguel Cossio" initials="MC" userId="S::Miguel.Cossio@gartner.com::729b4221-f14d-4e27-8d23-d6232f0a83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6D9494-1292-4513-917C-3E16D944E0DF}" v="4" dt="2024-01-20T20:50:30.336"/>
    <p1510:client id="{B09A2677-83F4-4BB1-96BB-FD9F8E357C55}" v="168" dt="2024-01-20T20:32:36.227"/>
  </p1510:revLst>
</p1510:revInfo>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87074" autoAdjust="0"/>
  </p:normalViewPr>
  <p:slideViewPr>
    <p:cSldViewPr snapToGrid="0">
      <p:cViewPr varScale="1">
        <p:scale>
          <a:sx n="95" d="100"/>
          <a:sy n="95" d="100"/>
        </p:scale>
        <p:origin x="420"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90" d="100"/>
        <a:sy n="90" d="100"/>
      </p:scale>
      <p:origin x="0" y="0"/>
    </p:cViewPr>
  </p:sorterViewPr>
  <p:notesViewPr>
    <p:cSldViewPr snapToGrid="0">
      <p:cViewPr>
        <p:scale>
          <a:sx n="200" d="100"/>
          <a:sy n="200" d="100"/>
        </p:scale>
        <p:origin x="540" y="-717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guel Cossio" userId="729b4221-f14d-4e27-8d23-d6232f0a8399" providerId="ADAL" clId="{B09A2677-83F4-4BB1-96BB-FD9F8E357C55}"/>
    <pc:docChg chg="undo custSel delSld modSld sldOrd">
      <pc:chgData name="Miguel Cossio" userId="729b4221-f14d-4e27-8d23-d6232f0a8399" providerId="ADAL" clId="{B09A2677-83F4-4BB1-96BB-FD9F8E357C55}" dt="2024-01-20T20:37:21.348" v="5354" actId="6549"/>
      <pc:docMkLst>
        <pc:docMk/>
      </pc:docMkLst>
      <pc:sldChg chg="modAnim modNotesTx">
        <pc:chgData name="Miguel Cossio" userId="729b4221-f14d-4e27-8d23-d6232f0a8399" providerId="ADAL" clId="{B09A2677-83F4-4BB1-96BB-FD9F8E357C55}" dt="2024-01-20T20:34:12.988" v="4871" actId="20577"/>
        <pc:sldMkLst>
          <pc:docMk/>
          <pc:sldMk cId="339269960" sldId="598"/>
        </pc:sldMkLst>
      </pc:sldChg>
      <pc:sldChg chg="modNotesTx">
        <pc:chgData name="Miguel Cossio" userId="729b4221-f14d-4e27-8d23-d6232f0a8399" providerId="ADAL" clId="{B09A2677-83F4-4BB1-96BB-FD9F8E357C55}" dt="2024-01-20T19:40:47.829" v="1019" actId="20577"/>
        <pc:sldMkLst>
          <pc:docMk/>
          <pc:sldMk cId="2298551011" sldId="969"/>
        </pc:sldMkLst>
      </pc:sldChg>
      <pc:sldChg chg="modSp mod">
        <pc:chgData name="Miguel Cossio" userId="729b4221-f14d-4e27-8d23-d6232f0a8399" providerId="ADAL" clId="{B09A2677-83F4-4BB1-96BB-FD9F8E357C55}" dt="2024-01-20T19:47:27.186" v="1879" actId="20577"/>
        <pc:sldMkLst>
          <pc:docMk/>
          <pc:sldMk cId="381074989" sldId="971"/>
        </pc:sldMkLst>
        <pc:spChg chg="mod">
          <ac:chgData name="Miguel Cossio" userId="729b4221-f14d-4e27-8d23-d6232f0a8399" providerId="ADAL" clId="{B09A2677-83F4-4BB1-96BB-FD9F8E357C55}" dt="2024-01-20T19:47:27.186" v="1879" actId="20577"/>
          <ac:spMkLst>
            <pc:docMk/>
            <pc:sldMk cId="381074989" sldId="971"/>
            <ac:spMk id="6148" creationId="{00000000-0000-0000-0000-000000000000}"/>
          </ac:spMkLst>
        </pc:spChg>
      </pc:sldChg>
      <pc:sldChg chg="addSp modSp mod modNotesTx">
        <pc:chgData name="Miguel Cossio" userId="729b4221-f14d-4e27-8d23-d6232f0a8399" providerId="ADAL" clId="{B09A2677-83F4-4BB1-96BB-FD9F8E357C55}" dt="2024-01-20T20:11:02.813" v="2788" actId="1076"/>
        <pc:sldMkLst>
          <pc:docMk/>
          <pc:sldMk cId="137496449" sldId="1213"/>
        </pc:sldMkLst>
        <pc:spChg chg="add mod">
          <ac:chgData name="Miguel Cossio" userId="729b4221-f14d-4e27-8d23-d6232f0a8399" providerId="ADAL" clId="{B09A2677-83F4-4BB1-96BB-FD9F8E357C55}" dt="2024-01-20T20:11:02.813" v="2788" actId="1076"/>
          <ac:spMkLst>
            <pc:docMk/>
            <pc:sldMk cId="137496449" sldId="1213"/>
            <ac:spMk id="2" creationId="{05AECBD0-060A-C3A7-16E6-F561BD838B52}"/>
          </ac:spMkLst>
        </pc:spChg>
      </pc:sldChg>
      <pc:sldChg chg="modSp mod modNotesTx">
        <pc:chgData name="Miguel Cossio" userId="729b4221-f14d-4e27-8d23-d6232f0a8399" providerId="ADAL" clId="{B09A2677-83F4-4BB1-96BB-FD9F8E357C55}" dt="2024-01-20T19:47:09.220" v="1867" actId="20577"/>
        <pc:sldMkLst>
          <pc:docMk/>
          <pc:sldMk cId="3918101802" sldId="1216"/>
        </pc:sldMkLst>
        <pc:spChg chg="mod">
          <ac:chgData name="Miguel Cossio" userId="729b4221-f14d-4e27-8d23-d6232f0a8399" providerId="ADAL" clId="{B09A2677-83F4-4BB1-96BB-FD9F8E357C55}" dt="2024-01-20T19:46:41.933" v="1816" actId="20577"/>
          <ac:spMkLst>
            <pc:docMk/>
            <pc:sldMk cId="3918101802" sldId="1216"/>
            <ac:spMk id="13" creationId="{3D0F3FEC-F6EB-A42A-306C-E2101DB33A93}"/>
          </ac:spMkLst>
        </pc:spChg>
      </pc:sldChg>
      <pc:sldChg chg="modNotesTx">
        <pc:chgData name="Miguel Cossio" userId="729b4221-f14d-4e27-8d23-d6232f0a8399" providerId="ADAL" clId="{B09A2677-83F4-4BB1-96BB-FD9F8E357C55}" dt="2024-01-20T19:48:55.597" v="2094" actId="113"/>
        <pc:sldMkLst>
          <pc:docMk/>
          <pc:sldMk cId="286006929" sldId="1219"/>
        </pc:sldMkLst>
      </pc:sldChg>
      <pc:sldChg chg="modNotesTx">
        <pc:chgData name="Miguel Cossio" userId="729b4221-f14d-4e27-8d23-d6232f0a8399" providerId="ADAL" clId="{B09A2677-83F4-4BB1-96BB-FD9F8E357C55}" dt="2024-01-20T19:59:27.822" v="2575" actId="20577"/>
        <pc:sldMkLst>
          <pc:docMk/>
          <pc:sldMk cId="1860712292" sldId="1221"/>
        </pc:sldMkLst>
      </pc:sldChg>
      <pc:sldChg chg="modAnim modNotesTx">
        <pc:chgData name="Miguel Cossio" userId="729b4221-f14d-4e27-8d23-d6232f0a8399" providerId="ADAL" clId="{B09A2677-83F4-4BB1-96BB-FD9F8E357C55}" dt="2024-01-20T20:11:39.502" v="2830" actId="20577"/>
        <pc:sldMkLst>
          <pc:docMk/>
          <pc:sldMk cId="835705145" sldId="3500"/>
        </pc:sldMkLst>
      </pc:sldChg>
      <pc:sldChg chg="modNotesTx">
        <pc:chgData name="Miguel Cossio" userId="729b4221-f14d-4e27-8d23-d6232f0a8399" providerId="ADAL" clId="{B09A2677-83F4-4BB1-96BB-FD9F8E357C55}" dt="2024-01-20T20:15:19.289" v="3226" actId="20577"/>
        <pc:sldMkLst>
          <pc:docMk/>
          <pc:sldMk cId="4284317790" sldId="3503"/>
        </pc:sldMkLst>
      </pc:sldChg>
      <pc:sldChg chg="mod ord modShow">
        <pc:chgData name="Miguel Cossio" userId="729b4221-f14d-4e27-8d23-d6232f0a8399" providerId="ADAL" clId="{B09A2677-83F4-4BB1-96BB-FD9F8E357C55}" dt="2024-01-20T20:15:49.311" v="3229" actId="729"/>
        <pc:sldMkLst>
          <pc:docMk/>
          <pc:sldMk cId="2292887762" sldId="3505"/>
        </pc:sldMkLst>
      </pc:sldChg>
      <pc:sldChg chg="modNotesTx">
        <pc:chgData name="Miguel Cossio" userId="729b4221-f14d-4e27-8d23-d6232f0a8399" providerId="ADAL" clId="{B09A2677-83F4-4BB1-96BB-FD9F8E357C55}" dt="2024-01-20T20:05:10.398" v="2779" actId="20577"/>
        <pc:sldMkLst>
          <pc:docMk/>
          <pc:sldMk cId="1700372274" sldId="3506"/>
        </pc:sldMkLst>
      </pc:sldChg>
      <pc:sldChg chg="addSp modSp mod modNotesTx">
        <pc:chgData name="Miguel Cossio" userId="729b4221-f14d-4e27-8d23-d6232f0a8399" providerId="ADAL" clId="{B09A2677-83F4-4BB1-96BB-FD9F8E357C55}" dt="2024-01-20T20:10:40.930" v="2783" actId="1076"/>
        <pc:sldMkLst>
          <pc:docMk/>
          <pc:sldMk cId="4205052240" sldId="3508"/>
        </pc:sldMkLst>
        <pc:spChg chg="add mod">
          <ac:chgData name="Miguel Cossio" userId="729b4221-f14d-4e27-8d23-d6232f0a8399" providerId="ADAL" clId="{B09A2677-83F4-4BB1-96BB-FD9F8E357C55}" dt="2024-01-20T20:10:40.930" v="2783" actId="1076"/>
          <ac:spMkLst>
            <pc:docMk/>
            <pc:sldMk cId="4205052240" sldId="3508"/>
            <ac:spMk id="3" creationId="{341D91D2-8B3E-868D-459B-BEF75C5779E0}"/>
          </ac:spMkLst>
        </pc:spChg>
      </pc:sldChg>
      <pc:sldChg chg="modNotesTx">
        <pc:chgData name="Miguel Cossio" userId="729b4221-f14d-4e27-8d23-d6232f0a8399" providerId="ADAL" clId="{B09A2677-83F4-4BB1-96BB-FD9F8E357C55}" dt="2024-01-20T20:12:59.121" v="2922" actId="20577"/>
        <pc:sldMkLst>
          <pc:docMk/>
          <pc:sldMk cId="3717809925" sldId="3514"/>
        </pc:sldMkLst>
      </pc:sldChg>
      <pc:sldChg chg="modNotesTx">
        <pc:chgData name="Miguel Cossio" userId="729b4221-f14d-4e27-8d23-d6232f0a8399" providerId="ADAL" clId="{B09A2677-83F4-4BB1-96BB-FD9F8E357C55}" dt="2024-01-20T20:24:58.937" v="4216" actId="20577"/>
        <pc:sldMkLst>
          <pc:docMk/>
          <pc:sldMk cId="748332507" sldId="3517"/>
        </pc:sldMkLst>
      </pc:sldChg>
      <pc:sldChg chg="modNotesTx">
        <pc:chgData name="Miguel Cossio" userId="729b4221-f14d-4e27-8d23-d6232f0a8399" providerId="ADAL" clId="{B09A2677-83F4-4BB1-96BB-FD9F8E357C55}" dt="2024-01-20T20:26:44.477" v="4385" actId="20577"/>
        <pc:sldMkLst>
          <pc:docMk/>
          <pc:sldMk cId="265325253" sldId="3519"/>
        </pc:sldMkLst>
      </pc:sldChg>
      <pc:sldChg chg="modSp mod">
        <pc:chgData name="Miguel Cossio" userId="729b4221-f14d-4e27-8d23-d6232f0a8399" providerId="ADAL" clId="{B09A2677-83F4-4BB1-96BB-FD9F8E357C55}" dt="2024-01-19T21:39:04.618" v="949" actId="20577"/>
        <pc:sldMkLst>
          <pc:docMk/>
          <pc:sldMk cId="276462297" sldId="3521"/>
        </pc:sldMkLst>
        <pc:spChg chg="mod">
          <ac:chgData name="Miguel Cossio" userId="729b4221-f14d-4e27-8d23-d6232f0a8399" providerId="ADAL" clId="{B09A2677-83F4-4BB1-96BB-FD9F8E357C55}" dt="2024-01-19T21:39:04.618" v="949" actId="20577"/>
          <ac:spMkLst>
            <pc:docMk/>
            <pc:sldMk cId="276462297" sldId="3521"/>
            <ac:spMk id="36" creationId="{C7C6C472-A04D-E1E5-668F-0C49EFF55A07}"/>
          </ac:spMkLst>
        </pc:spChg>
      </pc:sldChg>
      <pc:sldChg chg="modNotesTx">
        <pc:chgData name="Miguel Cossio" userId="729b4221-f14d-4e27-8d23-d6232f0a8399" providerId="ADAL" clId="{B09A2677-83F4-4BB1-96BB-FD9F8E357C55}" dt="2024-01-20T20:37:04.356" v="5306" actId="20577"/>
        <pc:sldMkLst>
          <pc:docMk/>
          <pc:sldMk cId="1989949668" sldId="3522"/>
        </pc:sldMkLst>
      </pc:sldChg>
      <pc:sldChg chg="modAnim delCm modNotesTx">
        <pc:chgData name="Miguel Cossio" userId="729b4221-f14d-4e27-8d23-d6232f0a8399" providerId="ADAL" clId="{B09A2677-83F4-4BB1-96BB-FD9F8E357C55}" dt="2024-01-20T20:20:28.451" v="3666" actId="20577"/>
        <pc:sldMkLst>
          <pc:docMk/>
          <pc:sldMk cId="2015342820" sldId="3530"/>
        </pc:sldMkLst>
        <pc:extLst>
          <p:ext xmlns:p="http://schemas.openxmlformats.org/presentationml/2006/main" uri="{D6D511B9-2390-475A-947B-AFAB55BFBCF1}">
            <pc226:cmChg xmlns:pc226="http://schemas.microsoft.com/office/powerpoint/2022/06/main/command" chg="del">
              <pc226:chgData name="Miguel Cossio" userId="729b4221-f14d-4e27-8d23-d6232f0a8399" providerId="ADAL" clId="{B09A2677-83F4-4BB1-96BB-FD9F8E357C55}" dt="2024-01-19T22:17:06.486" v="951"/>
              <pc2:cmMkLst xmlns:pc2="http://schemas.microsoft.com/office/powerpoint/2019/9/main/command">
                <pc:docMk/>
                <pc:sldMk cId="2015342820" sldId="3530"/>
                <pc2:cmMk id="{E2E84C4B-CB5C-43CF-AD60-68EF4F1FE660}"/>
              </pc2:cmMkLst>
            </pc226:cmChg>
          </p:ext>
        </pc:extLst>
      </pc:sldChg>
      <pc:sldChg chg="modNotesTx">
        <pc:chgData name="Miguel Cossio" userId="729b4221-f14d-4e27-8d23-d6232f0a8399" providerId="ADAL" clId="{B09A2677-83F4-4BB1-96BB-FD9F8E357C55}" dt="2024-01-20T20:36:17.214" v="5156" actId="20577"/>
        <pc:sldMkLst>
          <pc:docMk/>
          <pc:sldMk cId="4115786366" sldId="3535"/>
        </pc:sldMkLst>
      </pc:sldChg>
      <pc:sldChg chg="delSp del mod">
        <pc:chgData name="Miguel Cossio" userId="729b4221-f14d-4e27-8d23-d6232f0a8399" providerId="ADAL" clId="{B09A2677-83F4-4BB1-96BB-FD9F8E357C55}" dt="2024-01-19T22:16:45.796" v="950" actId="47"/>
        <pc:sldMkLst>
          <pc:docMk/>
          <pc:sldMk cId="3721377474" sldId="3539"/>
        </pc:sldMkLst>
        <pc:spChg chg="del">
          <ac:chgData name="Miguel Cossio" userId="729b4221-f14d-4e27-8d23-d6232f0a8399" providerId="ADAL" clId="{B09A2677-83F4-4BB1-96BB-FD9F8E357C55}" dt="2024-01-19T18:25:22.548" v="50" actId="478"/>
          <ac:spMkLst>
            <pc:docMk/>
            <pc:sldMk cId="3721377474" sldId="3539"/>
            <ac:spMk id="6" creationId="{C7BE43D7-2DA7-C462-A288-E0F1367C168E}"/>
          </ac:spMkLst>
        </pc:spChg>
      </pc:sldChg>
      <pc:sldChg chg="modSp modNotesTx">
        <pc:chgData name="Miguel Cossio" userId="729b4221-f14d-4e27-8d23-d6232f0a8399" providerId="ADAL" clId="{B09A2677-83F4-4BB1-96BB-FD9F8E357C55}" dt="2024-01-20T20:22:29.737" v="3828" actId="20577"/>
        <pc:sldMkLst>
          <pc:docMk/>
          <pc:sldMk cId="17298839" sldId="3551"/>
        </pc:sldMkLst>
        <pc:spChg chg="mod">
          <ac:chgData name="Miguel Cossio" userId="729b4221-f14d-4e27-8d23-d6232f0a8399" providerId="ADAL" clId="{B09A2677-83F4-4BB1-96BB-FD9F8E357C55}" dt="2024-01-19T18:24:46.149" v="34" actId="6549"/>
          <ac:spMkLst>
            <pc:docMk/>
            <pc:sldMk cId="17298839" sldId="3551"/>
            <ac:spMk id="96" creationId="{60248F04-F9F1-3EE3-ABD0-1F27485CD70B}"/>
          </ac:spMkLst>
        </pc:spChg>
      </pc:sldChg>
      <pc:sldChg chg="modSp modNotesTx">
        <pc:chgData name="Miguel Cossio" userId="729b4221-f14d-4e27-8d23-d6232f0a8399" providerId="ADAL" clId="{B09A2677-83F4-4BB1-96BB-FD9F8E357C55}" dt="2024-01-20T20:23:38.728" v="3921" actId="20577"/>
        <pc:sldMkLst>
          <pc:docMk/>
          <pc:sldMk cId="607702422" sldId="3569"/>
        </pc:sldMkLst>
        <pc:spChg chg="mod">
          <ac:chgData name="Miguel Cossio" userId="729b4221-f14d-4e27-8d23-d6232f0a8399" providerId="ADAL" clId="{B09A2677-83F4-4BB1-96BB-FD9F8E357C55}" dt="2024-01-19T18:24:52.453" v="49" actId="20577"/>
          <ac:spMkLst>
            <pc:docMk/>
            <pc:sldMk cId="607702422" sldId="3569"/>
            <ac:spMk id="6" creationId="{B473B937-AF90-915A-39BB-B8A172DCE1DD}"/>
          </ac:spMkLst>
        </pc:spChg>
      </pc:sldChg>
      <pc:sldChg chg="addSp delSp modSp mod modAnim modNotesTx">
        <pc:chgData name="Miguel Cossio" userId="729b4221-f14d-4e27-8d23-d6232f0a8399" providerId="ADAL" clId="{B09A2677-83F4-4BB1-96BB-FD9F8E357C55}" dt="2024-01-20T20:30:15.464" v="4489"/>
        <pc:sldMkLst>
          <pc:docMk/>
          <pc:sldMk cId="432176561" sldId="3572"/>
        </pc:sldMkLst>
        <pc:spChg chg="mod">
          <ac:chgData name="Miguel Cossio" userId="729b4221-f14d-4e27-8d23-d6232f0a8399" providerId="ADAL" clId="{B09A2677-83F4-4BB1-96BB-FD9F8E357C55}" dt="2024-01-19T19:05:14.349" v="405" actId="20577"/>
          <ac:spMkLst>
            <pc:docMk/>
            <pc:sldMk cId="432176561" sldId="3572"/>
            <ac:spMk id="2" creationId="{8FBA1190-A3EE-E5FD-ED96-3CA01764F645}"/>
          </ac:spMkLst>
        </pc:spChg>
        <pc:spChg chg="add mod">
          <ac:chgData name="Miguel Cossio" userId="729b4221-f14d-4e27-8d23-d6232f0a8399" providerId="ADAL" clId="{B09A2677-83F4-4BB1-96BB-FD9F8E357C55}" dt="2024-01-19T21:35:57.266" v="910" actId="404"/>
          <ac:spMkLst>
            <pc:docMk/>
            <pc:sldMk cId="432176561" sldId="3572"/>
            <ac:spMk id="11" creationId="{2EBBD3DC-0664-BDD1-0A8E-0D9EFFD5FBBA}"/>
          </ac:spMkLst>
        </pc:spChg>
        <pc:spChg chg="mod">
          <ac:chgData name="Miguel Cossio" userId="729b4221-f14d-4e27-8d23-d6232f0a8399" providerId="ADAL" clId="{B09A2677-83F4-4BB1-96BB-FD9F8E357C55}" dt="2024-01-19T18:56:50" v="127" actId="207"/>
          <ac:spMkLst>
            <pc:docMk/>
            <pc:sldMk cId="432176561" sldId="3572"/>
            <ac:spMk id="13" creationId="{CECF6F1A-35DF-F40D-5DF1-B16D48A47F9B}"/>
          </ac:spMkLst>
        </pc:spChg>
        <pc:spChg chg="mod">
          <ac:chgData name="Miguel Cossio" userId="729b4221-f14d-4e27-8d23-d6232f0a8399" providerId="ADAL" clId="{B09A2677-83F4-4BB1-96BB-FD9F8E357C55}" dt="2024-01-19T19:10:34.890" v="588" actId="207"/>
          <ac:spMkLst>
            <pc:docMk/>
            <pc:sldMk cId="432176561" sldId="3572"/>
            <ac:spMk id="14" creationId="{461B2AA5-041A-FDA2-6726-661EEF2951F6}"/>
          </ac:spMkLst>
        </pc:spChg>
        <pc:spChg chg="add mod">
          <ac:chgData name="Miguel Cossio" userId="729b4221-f14d-4e27-8d23-d6232f0a8399" providerId="ADAL" clId="{B09A2677-83F4-4BB1-96BB-FD9F8E357C55}" dt="2024-01-19T18:57:33.944" v="134" actId="1076"/>
          <ac:spMkLst>
            <pc:docMk/>
            <pc:sldMk cId="432176561" sldId="3572"/>
            <ac:spMk id="16" creationId="{86795B68-4D53-14CE-4504-D0BBE018E1CA}"/>
          </ac:spMkLst>
        </pc:spChg>
        <pc:spChg chg="add del mod">
          <ac:chgData name="Miguel Cossio" userId="729b4221-f14d-4e27-8d23-d6232f0a8399" providerId="ADAL" clId="{B09A2677-83F4-4BB1-96BB-FD9F8E357C55}" dt="2024-01-19T18:57:36.875" v="135" actId="478"/>
          <ac:spMkLst>
            <pc:docMk/>
            <pc:sldMk cId="432176561" sldId="3572"/>
            <ac:spMk id="17" creationId="{5C91AFD7-8183-FE94-DAA9-6FBB28D75F86}"/>
          </ac:spMkLst>
        </pc:spChg>
        <pc:spChg chg="add mod">
          <ac:chgData name="Miguel Cossio" userId="729b4221-f14d-4e27-8d23-d6232f0a8399" providerId="ADAL" clId="{B09A2677-83F4-4BB1-96BB-FD9F8E357C55}" dt="2024-01-19T19:04:05.612" v="327" actId="108"/>
          <ac:spMkLst>
            <pc:docMk/>
            <pc:sldMk cId="432176561" sldId="3572"/>
            <ac:spMk id="18" creationId="{956D7F50-2E06-557B-2CAA-4DA5495BAAF1}"/>
          </ac:spMkLst>
        </pc:spChg>
        <pc:spChg chg="add mod">
          <ac:chgData name="Miguel Cossio" userId="729b4221-f14d-4e27-8d23-d6232f0a8399" providerId="ADAL" clId="{B09A2677-83F4-4BB1-96BB-FD9F8E357C55}" dt="2024-01-19T19:18:46.476" v="883" actId="12789"/>
          <ac:spMkLst>
            <pc:docMk/>
            <pc:sldMk cId="432176561" sldId="3572"/>
            <ac:spMk id="19" creationId="{B5320478-49C4-8703-913C-EB931BCC7CD7}"/>
          </ac:spMkLst>
        </pc:spChg>
        <pc:spChg chg="add mod">
          <ac:chgData name="Miguel Cossio" userId="729b4221-f14d-4e27-8d23-d6232f0a8399" providerId="ADAL" clId="{B09A2677-83F4-4BB1-96BB-FD9F8E357C55}" dt="2024-01-19T19:04:07.265" v="328" actId="108"/>
          <ac:spMkLst>
            <pc:docMk/>
            <pc:sldMk cId="432176561" sldId="3572"/>
            <ac:spMk id="20" creationId="{E6B32EFE-0D0C-3FE8-063E-9383BD8BE324}"/>
          </ac:spMkLst>
        </pc:spChg>
        <pc:spChg chg="add mod">
          <ac:chgData name="Miguel Cossio" userId="729b4221-f14d-4e27-8d23-d6232f0a8399" providerId="ADAL" clId="{B09A2677-83F4-4BB1-96BB-FD9F8E357C55}" dt="2024-01-19T19:18:27.928" v="880" actId="554"/>
          <ac:spMkLst>
            <pc:docMk/>
            <pc:sldMk cId="432176561" sldId="3572"/>
            <ac:spMk id="21" creationId="{A65C4F5A-D07E-FA8F-6DA9-443FA3FED2DD}"/>
          </ac:spMkLst>
        </pc:spChg>
        <pc:spChg chg="add mod">
          <ac:chgData name="Miguel Cossio" userId="729b4221-f14d-4e27-8d23-d6232f0a8399" providerId="ADAL" clId="{B09A2677-83F4-4BB1-96BB-FD9F8E357C55}" dt="2024-01-19T18:56:10.104" v="125" actId="571"/>
          <ac:spMkLst>
            <pc:docMk/>
            <pc:sldMk cId="432176561" sldId="3572"/>
            <ac:spMk id="22" creationId="{A16538FA-8363-C204-A899-DF8A8E46C7CC}"/>
          </ac:spMkLst>
        </pc:spChg>
        <pc:spChg chg="add mod">
          <ac:chgData name="Miguel Cossio" userId="729b4221-f14d-4e27-8d23-d6232f0a8399" providerId="ADAL" clId="{B09A2677-83F4-4BB1-96BB-FD9F8E357C55}" dt="2024-01-19T19:18:46.476" v="883" actId="12789"/>
          <ac:spMkLst>
            <pc:docMk/>
            <pc:sldMk cId="432176561" sldId="3572"/>
            <ac:spMk id="23" creationId="{EFB6DE93-EC54-B199-33E1-9573D013672E}"/>
          </ac:spMkLst>
        </pc:spChg>
        <pc:spChg chg="add mod">
          <ac:chgData name="Miguel Cossio" userId="729b4221-f14d-4e27-8d23-d6232f0a8399" providerId="ADAL" clId="{B09A2677-83F4-4BB1-96BB-FD9F8E357C55}" dt="2024-01-19T19:18:27.928" v="880" actId="554"/>
          <ac:spMkLst>
            <pc:docMk/>
            <pc:sldMk cId="432176561" sldId="3572"/>
            <ac:spMk id="24" creationId="{78C0D08E-7A69-C02B-1B93-9C2450054AFB}"/>
          </ac:spMkLst>
        </pc:spChg>
        <pc:spChg chg="mod">
          <ac:chgData name="Miguel Cossio" userId="729b4221-f14d-4e27-8d23-d6232f0a8399" providerId="ADAL" clId="{B09A2677-83F4-4BB1-96BB-FD9F8E357C55}" dt="2024-01-19T18:58:15.190" v="143" actId="571"/>
          <ac:spMkLst>
            <pc:docMk/>
            <pc:sldMk cId="432176561" sldId="3572"/>
            <ac:spMk id="26" creationId="{1525A218-1C8C-433B-A424-786EE8B779CF}"/>
          </ac:spMkLst>
        </pc:spChg>
        <pc:spChg chg="mod">
          <ac:chgData name="Miguel Cossio" userId="729b4221-f14d-4e27-8d23-d6232f0a8399" providerId="ADAL" clId="{B09A2677-83F4-4BB1-96BB-FD9F8E357C55}" dt="2024-01-19T19:10:38.334" v="589" actId="207"/>
          <ac:spMkLst>
            <pc:docMk/>
            <pc:sldMk cId="432176561" sldId="3572"/>
            <ac:spMk id="27" creationId="{1C0C7773-8579-052A-FA26-FD14AB819ABA}"/>
          </ac:spMkLst>
        </pc:spChg>
        <pc:spChg chg="mod">
          <ac:chgData name="Miguel Cossio" userId="729b4221-f14d-4e27-8d23-d6232f0a8399" providerId="ADAL" clId="{B09A2677-83F4-4BB1-96BB-FD9F8E357C55}" dt="2024-01-19T18:58:39.723" v="144" actId="571"/>
          <ac:spMkLst>
            <pc:docMk/>
            <pc:sldMk cId="432176561" sldId="3572"/>
            <ac:spMk id="29" creationId="{E9C70C4E-3FBF-B8F7-ABBB-A4F8599CE718}"/>
          </ac:spMkLst>
        </pc:spChg>
        <pc:spChg chg="mod">
          <ac:chgData name="Miguel Cossio" userId="729b4221-f14d-4e27-8d23-d6232f0a8399" providerId="ADAL" clId="{B09A2677-83F4-4BB1-96BB-FD9F8E357C55}" dt="2024-01-19T19:10:44.164" v="590" actId="207"/>
          <ac:spMkLst>
            <pc:docMk/>
            <pc:sldMk cId="432176561" sldId="3572"/>
            <ac:spMk id="30" creationId="{C57CF89A-1F3A-2990-A7AA-0A370A4612C0}"/>
          </ac:spMkLst>
        </pc:spChg>
        <pc:spChg chg="add mod">
          <ac:chgData name="Miguel Cossio" userId="729b4221-f14d-4e27-8d23-d6232f0a8399" providerId="ADAL" clId="{B09A2677-83F4-4BB1-96BB-FD9F8E357C55}" dt="2024-01-19T21:36:42.480" v="941" actId="14100"/>
          <ac:spMkLst>
            <pc:docMk/>
            <pc:sldMk cId="432176561" sldId="3572"/>
            <ac:spMk id="31" creationId="{B7B4F569-D178-F12C-1472-562C4503E264}"/>
          </ac:spMkLst>
        </pc:spChg>
        <pc:spChg chg="add mod">
          <ac:chgData name="Miguel Cossio" userId="729b4221-f14d-4e27-8d23-d6232f0a8399" providerId="ADAL" clId="{B09A2677-83F4-4BB1-96BB-FD9F8E357C55}" dt="2024-01-19T19:09:18.449" v="554" actId="571"/>
          <ac:spMkLst>
            <pc:docMk/>
            <pc:sldMk cId="432176561" sldId="3572"/>
            <ac:spMk id="32" creationId="{B41781CE-335F-7CB3-FA6D-ED7F261B0885}"/>
          </ac:spMkLst>
        </pc:spChg>
        <pc:spChg chg="add mod">
          <ac:chgData name="Miguel Cossio" userId="729b4221-f14d-4e27-8d23-d6232f0a8399" providerId="ADAL" clId="{B09A2677-83F4-4BB1-96BB-FD9F8E357C55}" dt="2024-01-19T19:09:27.950" v="569" actId="1076"/>
          <ac:spMkLst>
            <pc:docMk/>
            <pc:sldMk cId="432176561" sldId="3572"/>
            <ac:spMk id="33" creationId="{2F866DED-6052-986E-137C-44BCA7C4D75F}"/>
          </ac:spMkLst>
        </pc:spChg>
        <pc:spChg chg="add mod">
          <ac:chgData name="Miguel Cossio" userId="729b4221-f14d-4e27-8d23-d6232f0a8399" providerId="ADAL" clId="{B09A2677-83F4-4BB1-96BB-FD9F8E357C55}" dt="2024-01-19T21:36:04.464" v="911" actId="108"/>
          <ac:spMkLst>
            <pc:docMk/>
            <pc:sldMk cId="432176561" sldId="3572"/>
            <ac:spMk id="34" creationId="{3C6A657E-B6B5-9E18-CAE4-2DAFA50D68E8}"/>
          </ac:spMkLst>
        </pc:spChg>
        <pc:spChg chg="add mod">
          <ac:chgData name="Miguel Cossio" userId="729b4221-f14d-4e27-8d23-d6232f0a8399" providerId="ADAL" clId="{B09A2677-83F4-4BB1-96BB-FD9F8E357C55}" dt="2024-01-19T21:36:06.888" v="912" actId="108"/>
          <ac:spMkLst>
            <pc:docMk/>
            <pc:sldMk cId="432176561" sldId="3572"/>
            <ac:spMk id="35" creationId="{E9B9AD31-040E-C7FC-605B-27260033D171}"/>
          </ac:spMkLst>
        </pc:spChg>
        <pc:spChg chg="mod">
          <ac:chgData name="Miguel Cossio" userId="729b4221-f14d-4e27-8d23-d6232f0a8399" providerId="ADAL" clId="{B09A2677-83F4-4BB1-96BB-FD9F8E357C55}" dt="2024-01-19T19:12:59.841" v="684" actId="571"/>
          <ac:spMkLst>
            <pc:docMk/>
            <pc:sldMk cId="432176561" sldId="3572"/>
            <ac:spMk id="37" creationId="{02978991-5848-FFB5-423D-0F763C39EBB3}"/>
          </ac:spMkLst>
        </pc:spChg>
        <pc:spChg chg="mod">
          <ac:chgData name="Miguel Cossio" userId="729b4221-f14d-4e27-8d23-d6232f0a8399" providerId="ADAL" clId="{B09A2677-83F4-4BB1-96BB-FD9F8E357C55}" dt="2024-01-19T19:12:59.841" v="684" actId="571"/>
          <ac:spMkLst>
            <pc:docMk/>
            <pc:sldMk cId="432176561" sldId="3572"/>
            <ac:spMk id="38" creationId="{FE039BE3-30F3-D959-2E65-AC29F36DAFBC}"/>
          </ac:spMkLst>
        </pc:spChg>
        <pc:grpChg chg="add mod">
          <ac:chgData name="Miguel Cossio" userId="729b4221-f14d-4e27-8d23-d6232f0a8399" providerId="ADAL" clId="{B09A2677-83F4-4BB1-96BB-FD9F8E357C55}" dt="2024-01-19T19:01:54.182" v="198" actId="1076"/>
          <ac:grpSpMkLst>
            <pc:docMk/>
            <pc:sldMk cId="432176561" sldId="3572"/>
            <ac:grpSpMk id="10" creationId="{AFC1B447-4232-8307-B27C-DEA98ACC5515}"/>
          </ac:grpSpMkLst>
        </pc:grpChg>
        <pc:grpChg chg="add mod">
          <ac:chgData name="Miguel Cossio" userId="729b4221-f14d-4e27-8d23-d6232f0a8399" providerId="ADAL" clId="{B09A2677-83F4-4BB1-96BB-FD9F8E357C55}" dt="2024-01-19T19:11:39.585" v="595" actId="1076"/>
          <ac:grpSpMkLst>
            <pc:docMk/>
            <pc:sldMk cId="432176561" sldId="3572"/>
            <ac:grpSpMk id="12" creationId="{59C9A74B-F70D-F758-65E6-916805AC56CB}"/>
          </ac:grpSpMkLst>
        </pc:grpChg>
        <pc:grpChg chg="add mod">
          <ac:chgData name="Miguel Cossio" userId="729b4221-f14d-4e27-8d23-d6232f0a8399" providerId="ADAL" clId="{B09A2677-83F4-4BB1-96BB-FD9F8E357C55}" dt="2024-01-19T19:16:25.133" v="749" actId="1076"/>
          <ac:grpSpMkLst>
            <pc:docMk/>
            <pc:sldMk cId="432176561" sldId="3572"/>
            <ac:grpSpMk id="25" creationId="{71CAD7FE-5248-371E-7838-14D806602ED2}"/>
          </ac:grpSpMkLst>
        </pc:grpChg>
        <pc:grpChg chg="add mod">
          <ac:chgData name="Miguel Cossio" userId="729b4221-f14d-4e27-8d23-d6232f0a8399" providerId="ADAL" clId="{B09A2677-83F4-4BB1-96BB-FD9F8E357C55}" dt="2024-01-19T19:14:00.682" v="692" actId="1076"/>
          <ac:grpSpMkLst>
            <pc:docMk/>
            <pc:sldMk cId="432176561" sldId="3572"/>
            <ac:grpSpMk id="28" creationId="{0C4C3D4A-8C77-0A81-0D6B-41D1539C2448}"/>
          </ac:grpSpMkLst>
        </pc:grpChg>
        <pc:grpChg chg="add mod">
          <ac:chgData name="Miguel Cossio" userId="729b4221-f14d-4e27-8d23-d6232f0a8399" providerId="ADAL" clId="{B09A2677-83F4-4BB1-96BB-FD9F8E357C55}" dt="2024-01-19T19:15:13.739" v="725" actId="1076"/>
          <ac:grpSpMkLst>
            <pc:docMk/>
            <pc:sldMk cId="432176561" sldId="3572"/>
            <ac:grpSpMk id="36" creationId="{5E04519C-3375-B5ED-4820-4D3D7EBA295E}"/>
          </ac:grpSpMkLst>
        </pc:grpChg>
        <pc:picChg chg="mod">
          <ac:chgData name="Miguel Cossio" userId="729b4221-f14d-4e27-8d23-d6232f0a8399" providerId="ADAL" clId="{B09A2677-83F4-4BB1-96BB-FD9F8E357C55}" dt="2024-01-19T19:11:39.585" v="595" actId="1076"/>
          <ac:picMkLst>
            <pc:docMk/>
            <pc:sldMk cId="432176561" sldId="3572"/>
            <ac:picMk id="5" creationId="{782A1B4B-FC19-5F72-BD54-EA26C15F6D91}"/>
          </ac:picMkLst>
        </pc:picChg>
        <pc:picChg chg="add mod modCrop">
          <ac:chgData name="Miguel Cossio" userId="729b4221-f14d-4e27-8d23-d6232f0a8399" providerId="ADAL" clId="{B09A2677-83F4-4BB1-96BB-FD9F8E357C55}" dt="2024-01-19T18:59:25.118" v="148" actId="732"/>
          <ac:picMkLst>
            <pc:docMk/>
            <pc:sldMk cId="432176561" sldId="3572"/>
            <ac:picMk id="7" creationId="{B46A7192-BFE9-8B5F-7F38-81EC884DDDD2}"/>
          </ac:picMkLst>
        </pc:picChg>
        <pc:picChg chg="add mod modCrop">
          <ac:chgData name="Miguel Cossio" userId="729b4221-f14d-4e27-8d23-d6232f0a8399" providerId="ADAL" clId="{B09A2677-83F4-4BB1-96BB-FD9F8E357C55}" dt="2024-01-19T18:59:15.992" v="147" actId="732"/>
          <ac:picMkLst>
            <pc:docMk/>
            <pc:sldMk cId="432176561" sldId="3572"/>
            <ac:picMk id="8" creationId="{0875C571-DA99-C1D0-707B-C3FF23D3BCA1}"/>
          </ac:picMkLst>
        </pc:picChg>
        <pc:picChg chg="add del mod">
          <ac:chgData name="Miguel Cossio" userId="729b4221-f14d-4e27-8d23-d6232f0a8399" providerId="ADAL" clId="{B09A2677-83F4-4BB1-96BB-FD9F8E357C55}" dt="2024-01-19T18:27:31.495" v="68" actId="478"/>
          <ac:picMkLst>
            <pc:docMk/>
            <pc:sldMk cId="432176561" sldId="3572"/>
            <ac:picMk id="9" creationId="{E187FD22-9454-F85F-2102-718FE24F9099}"/>
          </ac:picMkLst>
        </pc:picChg>
        <pc:picChg chg="add del mod">
          <ac:chgData name="Miguel Cossio" userId="729b4221-f14d-4e27-8d23-d6232f0a8399" providerId="ADAL" clId="{B09A2677-83F4-4BB1-96BB-FD9F8E357C55}" dt="2024-01-19T18:54:57.410" v="112" actId="478"/>
          <ac:picMkLst>
            <pc:docMk/>
            <pc:sldMk cId="432176561" sldId="3572"/>
            <ac:picMk id="15" creationId="{ADF9028A-C0F5-2C9C-CD27-4EFD66EB6CF2}"/>
          </ac:picMkLst>
        </pc:picChg>
      </pc:sldChg>
      <pc:sldChg chg="modSp mod modNotesTx">
        <pc:chgData name="Miguel Cossio" userId="729b4221-f14d-4e27-8d23-d6232f0a8399" providerId="ADAL" clId="{B09A2677-83F4-4BB1-96BB-FD9F8E357C55}" dt="2024-01-20T20:37:21.348" v="5354" actId="6549"/>
        <pc:sldMkLst>
          <pc:docMk/>
          <pc:sldMk cId="1575750603" sldId="3574"/>
        </pc:sldMkLst>
        <pc:spChg chg="mod">
          <ac:chgData name="Miguel Cossio" userId="729b4221-f14d-4e27-8d23-d6232f0a8399" providerId="ADAL" clId="{B09A2677-83F4-4BB1-96BB-FD9F8E357C55}" dt="2024-01-19T19:54:14.367" v="909" actId="20577"/>
          <ac:spMkLst>
            <pc:docMk/>
            <pc:sldMk cId="1575750603" sldId="3574"/>
            <ac:spMk id="2" creationId="{10517051-A2B8-9848-7788-947295F1A944}"/>
          </ac:spMkLst>
        </pc:spChg>
      </pc:sldChg>
      <pc:sldChg chg="del">
        <pc:chgData name="Miguel Cossio" userId="729b4221-f14d-4e27-8d23-d6232f0a8399" providerId="ADAL" clId="{B09A2677-83F4-4BB1-96BB-FD9F8E357C55}" dt="2024-01-19T19:22:28.656" v="907" actId="47"/>
        <pc:sldMkLst>
          <pc:docMk/>
          <pc:sldMk cId="2045327346" sldId="3575"/>
        </pc:sldMkLst>
      </pc:sldChg>
    </pc:docChg>
  </pc:docChgLst>
  <pc:docChgLst>
    <pc:chgData name="Miguel Cossio" userId="729b4221-f14d-4e27-8d23-d6232f0a8399" providerId="ADAL" clId="{6E6D9494-1292-4513-917C-3E16D944E0DF}"/>
    <pc:docChg chg="undo custSel addSld delSld modSld">
      <pc:chgData name="Miguel Cossio" userId="729b4221-f14d-4e27-8d23-d6232f0a8399" providerId="ADAL" clId="{6E6D9494-1292-4513-917C-3E16D944E0DF}" dt="2024-01-20T20:50:30.336" v="10"/>
      <pc:docMkLst>
        <pc:docMk/>
      </pc:docMkLst>
      <pc:sldChg chg="modAnim">
        <pc:chgData name="Miguel Cossio" userId="729b4221-f14d-4e27-8d23-d6232f0a8399" providerId="ADAL" clId="{6E6D9494-1292-4513-917C-3E16D944E0DF}" dt="2024-01-20T20:50:30.336" v="10"/>
        <pc:sldMkLst>
          <pc:docMk/>
          <pc:sldMk cId="1860712292" sldId="1221"/>
        </pc:sldMkLst>
      </pc:sldChg>
      <pc:sldChg chg="add del">
        <pc:chgData name="Miguel Cossio" userId="729b4221-f14d-4e27-8d23-d6232f0a8399" providerId="ADAL" clId="{6E6D9494-1292-4513-917C-3E16D944E0DF}" dt="2024-01-20T20:49:10.188" v="3" actId="47"/>
        <pc:sldMkLst>
          <pc:docMk/>
          <pc:sldMk cId="4284317790" sldId="3503"/>
        </pc:sldMkLst>
      </pc:sldChg>
      <pc:sldChg chg="add del">
        <pc:chgData name="Miguel Cossio" userId="729b4221-f14d-4e27-8d23-d6232f0a8399" providerId="ADAL" clId="{6E6D9494-1292-4513-917C-3E16D944E0DF}" dt="2024-01-20T20:49:16.641" v="6" actId="47"/>
        <pc:sldMkLst>
          <pc:docMk/>
          <pc:sldMk cId="2292887762" sldId="3505"/>
        </pc:sldMkLst>
      </pc:sldChg>
      <pc:sldChg chg="add del">
        <pc:chgData name="Miguel Cossio" userId="729b4221-f14d-4e27-8d23-d6232f0a8399" providerId="ADAL" clId="{6E6D9494-1292-4513-917C-3E16D944E0DF}" dt="2024-01-20T20:49:13.210" v="4" actId="47"/>
        <pc:sldMkLst>
          <pc:docMk/>
          <pc:sldMk cId="3717809925" sldId="3514"/>
        </pc:sldMkLst>
      </pc:sldChg>
      <pc:sldChg chg="add del">
        <pc:chgData name="Miguel Cossio" userId="729b4221-f14d-4e27-8d23-d6232f0a8399" providerId="ADAL" clId="{6E6D9494-1292-4513-917C-3E16D944E0DF}" dt="2024-01-20T20:49:13.210" v="4" actId="47"/>
        <pc:sldMkLst>
          <pc:docMk/>
          <pc:sldMk cId="3466016143" sldId="3516"/>
        </pc:sldMkLst>
      </pc:sldChg>
      <pc:sldChg chg="add del">
        <pc:chgData name="Miguel Cossio" userId="729b4221-f14d-4e27-8d23-d6232f0a8399" providerId="ADAL" clId="{6E6D9494-1292-4513-917C-3E16D944E0DF}" dt="2024-01-20T20:49:13.210" v="4" actId="47"/>
        <pc:sldMkLst>
          <pc:docMk/>
          <pc:sldMk cId="748332507" sldId="3517"/>
        </pc:sldMkLst>
      </pc:sldChg>
      <pc:sldChg chg="add del">
        <pc:chgData name="Miguel Cossio" userId="729b4221-f14d-4e27-8d23-d6232f0a8399" providerId="ADAL" clId="{6E6D9494-1292-4513-917C-3E16D944E0DF}" dt="2024-01-20T20:49:13.210" v="4" actId="47"/>
        <pc:sldMkLst>
          <pc:docMk/>
          <pc:sldMk cId="265325253" sldId="3519"/>
        </pc:sldMkLst>
      </pc:sldChg>
      <pc:sldChg chg="add del">
        <pc:chgData name="Miguel Cossio" userId="729b4221-f14d-4e27-8d23-d6232f0a8399" providerId="ADAL" clId="{6E6D9494-1292-4513-917C-3E16D944E0DF}" dt="2024-01-20T20:49:13.210" v="4" actId="47"/>
        <pc:sldMkLst>
          <pc:docMk/>
          <pc:sldMk cId="2158414854" sldId="3520"/>
        </pc:sldMkLst>
      </pc:sldChg>
      <pc:sldChg chg="add del">
        <pc:chgData name="Miguel Cossio" userId="729b4221-f14d-4e27-8d23-d6232f0a8399" providerId="ADAL" clId="{6E6D9494-1292-4513-917C-3E16D944E0DF}" dt="2024-01-20T20:49:13.210" v="4" actId="47"/>
        <pc:sldMkLst>
          <pc:docMk/>
          <pc:sldMk cId="276462297" sldId="352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latin typeface="Arial" panose="020B0604020202020204" pitchFamily="34" charset="0"/>
              </a:rPr>
              <a:t>1/20/2024</a:t>
            </a:fld>
            <a:endParaRPr lang="en-US" dirty="0">
              <a:latin typeface="Arial" panose="020B0604020202020204" pitchFamily="34" charset="0"/>
            </a:endParaRPr>
          </a:p>
        </p:txBody>
      </p:sp>
      <p:sp>
        <p:nvSpPr>
          <p:cNvPr id="6" name="TextBox 5"/>
          <p:cNvSpPr txBox="1"/>
          <p:nvPr/>
        </p:nvSpPr>
        <p:spPr>
          <a:xfrm>
            <a:off x="164123" y="8750497"/>
            <a:ext cx="6459416" cy="323165"/>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latin typeface="Arial" panose="020B0604020202020204" pitchFamily="34" charset="0"/>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latin typeface="Arial" panose="020B0604020202020204" pitchFamily="34" charset="0"/>
              </a:rPr>
              <a:t>	© 2024 Gartner, Inc. and/or its affiliates. All rights reserved. Gartner is a registered trademark of Gartner, Inc. and its affiliates.</a:t>
            </a:r>
            <a:br>
              <a:rPr lang="en-US" sz="700" dirty="0">
                <a:solidFill>
                  <a:srgbClr val="979D9D"/>
                </a:solidFill>
                <a:latin typeface="Arial" panose="020B0604020202020204" pitchFamily="34" charset="0"/>
              </a:rPr>
            </a:br>
            <a:r>
              <a:rPr lang="en-US" sz="700" b="1" dirty="0">
                <a:solidFill>
                  <a:srgbClr val="979D9D"/>
                </a:solidFill>
                <a:latin typeface="Arial" panose="020B0604020202020204" pitchFamily="34" charset="0"/>
              </a:rPr>
              <a:t>INTERNAL — FOR INTERNAL USE ONLY or RESTRICTED [CHOSE ONE </a:t>
            </a:r>
            <a:r>
              <a:rPr lang="en-US" sz="700" b="1" dirty="0">
                <a:solidFill>
                  <a:srgbClr val="979D9D"/>
                </a:solidFill>
                <a:latin typeface="Arial" panose="020B0604020202020204" pitchFamily="34" charset="0"/>
                <a:cs typeface="Arial" panose="020B0604020202020204" pitchFamily="34" charset="0"/>
              </a:rPr>
              <a:t>—</a:t>
            </a:r>
            <a:r>
              <a:rPr lang="en-US" sz="700" b="1" dirty="0">
                <a:solidFill>
                  <a:srgbClr val="979D9D"/>
                </a:solidFill>
                <a:latin typeface="Arial" panose="020B0604020202020204" pitchFamily="34" charset="0"/>
              </a:rPr>
              <a:t> DELETE AS APPROPRIATE] </a:t>
            </a:r>
            <a:r>
              <a:rPr lang="en-US" sz="700" b="0" baseline="0" dirty="0">
                <a:solidFill>
                  <a:srgbClr val="979D9D"/>
                </a:solidFill>
                <a:latin typeface="Arial" panose="020B0604020202020204" pitchFamily="34" charset="0"/>
              </a:rPr>
              <a:t>| </a:t>
            </a:r>
            <a:r>
              <a:rPr lang="en-US" sz="700" dirty="0">
                <a:solidFill>
                  <a:srgbClr val="979D9D"/>
                </a:solidFill>
                <a:latin typeface="Arial" panose="020B0604020202020204" pitchFamily="34" charset="0"/>
              </a:rPr>
              <a:t>Version X.X Last updated [insert date format: DD Month YYYY]</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33500" y="658368"/>
            <a:ext cx="4191000" cy="23574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42371" y="3134805"/>
            <a:ext cx="6373258" cy="5502055"/>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13" name="Copyright and Pg Num">
            <a:extLst>
              <a:ext uri="{FF2B5EF4-FFF2-40B4-BE49-F238E27FC236}">
                <a16:creationId xmlns:a16="http://schemas.microsoft.com/office/drawing/2014/main" id="{3422AF18-7566-48F3-BD1C-68BD12E815A4}"/>
              </a:ext>
            </a:extLst>
          </p:cNvPr>
          <p:cNvSpPr txBox="1"/>
          <p:nvPr/>
        </p:nvSpPr>
        <p:spPr>
          <a:xfrm>
            <a:off x="242370" y="8802011"/>
            <a:ext cx="3256479" cy="246221"/>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8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800" dirty="0">
                <a:solidFill>
                  <a:schemeClr val="tx1"/>
                </a:solidFill>
              </a:rPr>
              <a:t>	© 2024 Gartner, Inc. and/or its affiliates. All rights reserved. </a:t>
            </a:r>
            <a:br>
              <a:rPr lang="en-US" sz="800" dirty="0">
                <a:solidFill>
                  <a:schemeClr val="tx1"/>
                </a:solidFill>
              </a:rPr>
            </a:br>
            <a:r>
              <a:rPr lang="en-US" sz="800" dirty="0">
                <a:solidFill>
                  <a:schemeClr val="tx1"/>
                </a:solidFill>
              </a:rPr>
              <a:t>Gartner is a registered trademark of Gartner, Inc. and its affiliates.</a:t>
            </a:r>
          </a:p>
        </p:txBody>
      </p:sp>
      <p:sp>
        <p:nvSpPr>
          <p:cNvPr id="15" name="Rectangle 88">
            <a:extLst>
              <a:ext uri="{FF2B5EF4-FFF2-40B4-BE49-F238E27FC236}">
                <a16:creationId xmlns:a16="http://schemas.microsoft.com/office/drawing/2014/main" id="{694C335F-574C-43EF-81F6-2510B56400EE}"/>
              </a:ext>
            </a:extLst>
          </p:cNvPr>
          <p:cNvSpPr>
            <a:spLocks noChangeArrowheads="1"/>
          </p:cNvSpPr>
          <p:nvPr/>
        </p:nvSpPr>
        <p:spPr bwMode="gray">
          <a:xfrm>
            <a:off x="3749040" y="8657880"/>
            <a:ext cx="2866589" cy="246221"/>
          </a:xfrm>
          <a:prstGeom prst="rect">
            <a:avLst/>
          </a:prstGeom>
          <a:noFill/>
          <a:ln w="9525">
            <a:noFill/>
            <a:miter lim="800000"/>
            <a:headEnd/>
            <a:tailEnd/>
          </a:ln>
        </p:spPr>
        <p:txBody>
          <a:bodyPr wrap="square" lIns="0" tIns="0" rIns="0" bIns="0">
            <a:spAutoFit/>
          </a:bodyPr>
          <a:lstStyle/>
          <a:p>
            <a:pPr algn="l" defTabSz="912813">
              <a:lnSpc>
                <a:spcPct val="100000"/>
              </a:lnSpc>
              <a:spcBef>
                <a:spcPct val="0"/>
              </a:spcBef>
              <a:spcAft>
                <a:spcPct val="0"/>
              </a:spcAft>
              <a:defRPr/>
            </a:pPr>
            <a:r>
              <a:rPr lang="en-US" sz="800" dirty="0">
                <a:solidFill>
                  <a:srgbClr val="000000"/>
                </a:solidFill>
                <a:ea typeface="+mn-ea"/>
                <a:cs typeface="+mn-cs"/>
              </a:rPr>
              <a:t>Presenter Name, Presenter Name, Presenter Name, and Presenter Name</a:t>
            </a:r>
            <a:endParaRPr lang="en-US" sz="800" b="1" dirty="0">
              <a:ea typeface="+mn-ea"/>
              <a:cs typeface="+mn-cs"/>
            </a:endParaRPr>
          </a:p>
        </p:txBody>
      </p:sp>
      <p:sp>
        <p:nvSpPr>
          <p:cNvPr id="16" name="Rectangle 89">
            <a:extLst>
              <a:ext uri="{FF2B5EF4-FFF2-40B4-BE49-F238E27FC236}">
                <a16:creationId xmlns:a16="http://schemas.microsoft.com/office/drawing/2014/main" id="{F6B88791-2B87-47D4-9ABE-F6851FF8E496}"/>
              </a:ext>
            </a:extLst>
          </p:cNvPr>
          <p:cNvSpPr>
            <a:spLocks noChangeArrowheads="1"/>
          </p:cNvSpPr>
          <p:nvPr/>
        </p:nvSpPr>
        <p:spPr bwMode="gray">
          <a:xfrm>
            <a:off x="3749039" y="8925121"/>
            <a:ext cx="2866589" cy="123111"/>
          </a:xfrm>
          <a:prstGeom prst="rect">
            <a:avLst/>
          </a:prstGeom>
          <a:noFill/>
          <a:ln w="9525">
            <a:noFill/>
            <a:miter lim="800000"/>
            <a:headEnd/>
            <a:tailEnd/>
          </a:ln>
        </p:spPr>
        <p:txBody>
          <a:bodyPr wrap="square" lIns="0" tIns="0" rIns="0" bIns="0" anchor="b">
            <a:spAutoFit/>
          </a:bodyPr>
          <a:lstStyle/>
          <a:p>
            <a:pPr algn="l" defTabSz="912813">
              <a:lnSpc>
                <a:spcPct val="100000"/>
              </a:lnSpc>
              <a:spcBef>
                <a:spcPct val="0"/>
              </a:spcBef>
              <a:spcAft>
                <a:spcPct val="0"/>
              </a:spcAft>
              <a:defRPr/>
            </a:pPr>
            <a:r>
              <a:rPr lang="en-US" sz="800" dirty="0" err="1">
                <a:solidFill>
                  <a:srgbClr val="000000"/>
                </a:solidFill>
                <a:ea typeface="+mn-ea"/>
                <a:cs typeface="+mn-cs"/>
              </a:rPr>
              <a:t>ConfCode_sessionID</a:t>
            </a:r>
            <a:r>
              <a:rPr lang="en-US" sz="800" dirty="0">
                <a:solidFill>
                  <a:srgbClr val="000000"/>
                </a:solidFill>
                <a:ea typeface="+mn-ea"/>
                <a:cs typeface="+mn-cs"/>
              </a:rPr>
              <a:t>, DD Month 2024</a:t>
            </a:r>
          </a:p>
        </p:txBody>
      </p:sp>
      <p:sp>
        <p:nvSpPr>
          <p:cNvPr id="10" name="TextBox 9">
            <a:extLst>
              <a:ext uri="{FF2B5EF4-FFF2-40B4-BE49-F238E27FC236}">
                <a16:creationId xmlns:a16="http://schemas.microsoft.com/office/drawing/2014/main" id="{55B3D38A-A9D3-44D7-839E-CD040E6E6A74}"/>
              </a:ext>
            </a:extLst>
          </p:cNvPr>
          <p:cNvSpPr txBox="1"/>
          <p:nvPr/>
        </p:nvSpPr>
        <p:spPr>
          <a:xfrm rot="16200000">
            <a:off x="-840060" y="1686782"/>
            <a:ext cx="2301912" cy="138499"/>
          </a:xfrm>
          <a:prstGeom prst="rect">
            <a:avLst/>
          </a:prstGeom>
          <a:noFill/>
        </p:spPr>
        <p:txBody>
          <a:bodyPr wrap="none" lIns="0" tIns="0" rIns="0" bIns="0" rtlCol="0" anchor="ctr" anchorCtr="0">
            <a:spAutoFit/>
          </a:bodyPr>
          <a:lstStyle/>
          <a:p>
            <a:pPr algn="ctr"/>
            <a:r>
              <a:rPr lang="en-US" sz="900" dirty="0">
                <a:solidFill>
                  <a:srgbClr val="C0C0C0"/>
                </a:solidFill>
              </a:rPr>
              <a:t>— NOT FOR EXTERNAL DISTRIBUTION —</a:t>
            </a:r>
          </a:p>
        </p:txBody>
      </p:sp>
      <p:sp>
        <p:nvSpPr>
          <p:cNvPr id="17" name="TextBox 16">
            <a:extLst>
              <a:ext uri="{FF2B5EF4-FFF2-40B4-BE49-F238E27FC236}">
                <a16:creationId xmlns:a16="http://schemas.microsoft.com/office/drawing/2014/main" id="{4A441C36-0C0E-4ED4-B4E2-FF5388E6CA5D}"/>
              </a:ext>
            </a:extLst>
          </p:cNvPr>
          <p:cNvSpPr txBox="1"/>
          <p:nvPr/>
        </p:nvSpPr>
        <p:spPr>
          <a:xfrm rot="5400000">
            <a:off x="5396148" y="1686782"/>
            <a:ext cx="2301912" cy="138499"/>
          </a:xfrm>
          <a:prstGeom prst="rect">
            <a:avLst/>
          </a:prstGeom>
          <a:noFill/>
        </p:spPr>
        <p:txBody>
          <a:bodyPr wrap="none" lIns="0" tIns="0" rIns="0" bIns="0" rtlCol="0" anchor="ctr" anchorCtr="0">
            <a:spAutoFit/>
          </a:bodyPr>
          <a:lstStyle/>
          <a:p>
            <a:pPr algn="ctr"/>
            <a:r>
              <a:rPr lang="en-US" sz="900" dirty="0">
                <a:solidFill>
                  <a:srgbClr val="C0C0C0"/>
                </a:solidFill>
              </a:rPr>
              <a:t>— NOT FOR EXTERNAL DISTRIBUTION —</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4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400"/>
      </a:spcAft>
      <a:buFont typeface="Arial" panose="020B0604020202020204" pitchFamily="34" charset="0"/>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4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400"/>
      </a:spcAft>
      <a:buFont typeface="Arial" panose="020B0604020202020204" pitchFamily="34" charset="0"/>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4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77"/>
          <p:cNvSpPr>
            <a:spLocks noChangeArrowheads="1"/>
          </p:cNvSpPr>
          <p:nvPr/>
        </p:nvSpPr>
        <p:spPr bwMode="auto">
          <a:xfrm>
            <a:off x="250031" y="266700"/>
            <a:ext cx="6505575" cy="276999"/>
          </a:xfrm>
          <a:prstGeom prst="rect">
            <a:avLst/>
          </a:prstGeom>
          <a:noFill/>
          <a:ln w="9525">
            <a:noFill/>
            <a:miter lim="800000"/>
            <a:headEnd/>
            <a:tailEnd/>
          </a:ln>
        </p:spPr>
        <p:txBody>
          <a:bodyPr lIns="0" tIns="0" rIns="0" bIns="0">
            <a:spAutoFit/>
          </a:bodyPr>
          <a:lstStyle/>
          <a:p>
            <a:pPr algn="l" defTabSz="912813">
              <a:lnSpc>
                <a:spcPct val="100000"/>
              </a:lnSpc>
              <a:spcBef>
                <a:spcPct val="0"/>
              </a:spcBef>
              <a:spcAft>
                <a:spcPct val="0"/>
              </a:spcAft>
            </a:pPr>
            <a:r>
              <a:rPr lang="en-US" b="1" dirty="0">
                <a:solidFill>
                  <a:srgbClr val="000000"/>
                </a:solidFill>
              </a:rPr>
              <a:t>Presentation Title</a:t>
            </a:r>
          </a:p>
        </p:txBody>
      </p:sp>
      <p:sp>
        <p:nvSpPr>
          <p:cNvPr id="9" name="Rectangle 103"/>
          <p:cNvSpPr>
            <a:spLocks noChangeArrowheads="1"/>
          </p:cNvSpPr>
          <p:nvPr/>
        </p:nvSpPr>
        <p:spPr bwMode="gray">
          <a:xfrm>
            <a:off x="3862388" y="1216025"/>
            <a:ext cx="2998787" cy="420582"/>
          </a:xfrm>
          <a:prstGeom prst="rect">
            <a:avLst/>
          </a:prstGeom>
          <a:noFill/>
          <a:ln w="9525">
            <a:noFill/>
            <a:miter lim="800000"/>
            <a:headEnd/>
            <a:tailEnd/>
          </a:ln>
        </p:spPr>
        <p:txBody>
          <a:bodyPr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pic>
        <p:nvPicPr>
          <p:cNvPr id="5" name="Picture 4">
            <a:extLst>
              <a:ext uri="{FF2B5EF4-FFF2-40B4-BE49-F238E27FC236}">
                <a16:creationId xmlns:a16="http://schemas.microsoft.com/office/drawing/2014/main" id="{76654E79-E626-471D-86E7-F5698E6643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0862" y="8698254"/>
            <a:ext cx="964406" cy="220332"/>
          </a:xfrm>
          <a:prstGeom prst="rect">
            <a:avLst/>
          </a:prstGeom>
        </p:spPr>
      </p:pic>
      <p:sp>
        <p:nvSpPr>
          <p:cNvPr id="11" name="Notes Placeholder 10">
            <a:extLst>
              <a:ext uri="{FF2B5EF4-FFF2-40B4-BE49-F238E27FC236}">
                <a16:creationId xmlns:a16="http://schemas.microsoft.com/office/drawing/2014/main" id="{1871EF94-B070-4140-B4AC-C00B1900ED35}"/>
              </a:ext>
            </a:extLst>
          </p:cNvPr>
          <p:cNvSpPr>
            <a:spLocks noGrp="1" noChangeAspect="1"/>
          </p:cNvSpPr>
          <p:nvPr>
            <p:ph type="body" idx="1"/>
          </p:nvPr>
        </p:nvSpPr>
        <p:spPr>
          <a:xfrm>
            <a:off x="242371" y="3134805"/>
            <a:ext cx="6373258" cy="5502055"/>
          </a:xfrm>
        </p:spPr>
        <p:txBody>
          <a:bodyPr vert="horz" lIns="0" tIns="0" rIns="0" bIns="0" rtlCol="0"/>
          <a:lstStyle/>
          <a:p>
            <a:r>
              <a:rPr lang="en-US" dirty="0"/>
              <a:t>Miguel’s intro and types of client interactions</a:t>
            </a:r>
          </a:p>
        </p:txBody>
      </p:sp>
      <p:sp>
        <p:nvSpPr>
          <p:cNvPr id="12" name="Copyright and Pg Num">
            <a:extLst>
              <a:ext uri="{FF2B5EF4-FFF2-40B4-BE49-F238E27FC236}">
                <a16:creationId xmlns:a16="http://schemas.microsoft.com/office/drawing/2014/main" id="{30F38731-F384-467A-A179-B8AE6479A055}"/>
              </a:ext>
            </a:extLst>
          </p:cNvPr>
          <p:cNvSpPr txBox="1"/>
          <p:nvPr/>
        </p:nvSpPr>
        <p:spPr>
          <a:xfrm>
            <a:off x="242370" y="8802011"/>
            <a:ext cx="3256479" cy="246221"/>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8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1</a:t>
            </a:fld>
            <a:r>
              <a:rPr lang="en-US" sz="800" dirty="0">
                <a:solidFill>
                  <a:schemeClr val="tx1"/>
                </a:solidFill>
              </a:rPr>
              <a:t>	© 2024 Gartner, Inc. and/or its affiliates. All rights reserved. </a:t>
            </a:r>
            <a:br>
              <a:rPr lang="en-US" sz="800" dirty="0">
                <a:solidFill>
                  <a:schemeClr val="tx1"/>
                </a:solidFill>
              </a:rPr>
            </a:br>
            <a:r>
              <a:rPr lang="en-US" sz="800" dirty="0">
                <a:solidFill>
                  <a:schemeClr val="tx1"/>
                </a:solidFill>
              </a:rPr>
              <a:t>Gartner is a registered trademark of Gartner, Inc. and its affiliates.</a:t>
            </a:r>
          </a:p>
        </p:txBody>
      </p:sp>
    </p:spTree>
    <p:extLst>
      <p:ext uri="{BB962C8B-B14F-4D97-AF65-F5344CB8AC3E}">
        <p14:creationId xmlns:p14="http://schemas.microsoft.com/office/powerpoint/2010/main" val="2670234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We now know there are different types of tools and very different capabilities being offered. The next step is – How do you choose the best solution that fits your needs?</a:t>
            </a:r>
          </a:p>
        </p:txBody>
      </p:sp>
    </p:spTree>
    <p:extLst>
      <p:ext uri="{BB962C8B-B14F-4D97-AF65-F5344CB8AC3E}">
        <p14:creationId xmlns:p14="http://schemas.microsoft.com/office/powerpoint/2010/main" val="2425342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Six steps and my top recommendations</a:t>
            </a:r>
          </a:p>
          <a:p>
            <a:endParaRPr lang="en-US" dirty="0"/>
          </a:p>
          <a:p>
            <a:r>
              <a:rPr lang="en-US" dirty="0"/>
              <a:t>Composable </a:t>
            </a:r>
            <a:r>
              <a:rPr lang="en-US" dirty="0" err="1"/>
              <a:t>arq</a:t>
            </a:r>
            <a:r>
              <a:rPr lang="en-US" dirty="0"/>
              <a:t> – extensibility</a:t>
            </a:r>
          </a:p>
          <a:p>
            <a:endParaRPr lang="en-US" dirty="0"/>
          </a:p>
          <a:p>
            <a:r>
              <a:rPr lang="en-US" dirty="0"/>
              <a:t>Source to pay </a:t>
            </a:r>
          </a:p>
          <a:p>
            <a:r>
              <a:rPr lang="en-US" dirty="0"/>
              <a:t>ERP</a:t>
            </a:r>
          </a:p>
          <a:p>
            <a:endParaRPr lang="en-US" dirty="0"/>
          </a:p>
        </p:txBody>
      </p:sp>
    </p:spTree>
    <p:extLst>
      <p:ext uri="{BB962C8B-B14F-4D97-AF65-F5344CB8AC3E}">
        <p14:creationId xmlns:p14="http://schemas.microsoft.com/office/powerpoint/2010/main" val="1056907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Many companies I speak to simply overlook this step – which is the most critical - </a:t>
            </a:r>
          </a:p>
        </p:txBody>
      </p:sp>
    </p:spTree>
    <p:extLst>
      <p:ext uri="{BB962C8B-B14F-4D97-AF65-F5344CB8AC3E}">
        <p14:creationId xmlns:p14="http://schemas.microsoft.com/office/powerpoint/2010/main" val="1267529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b="0" i="0" dirty="0">
                <a:solidFill>
                  <a:srgbClr val="4A4A4A"/>
                </a:solidFill>
                <a:effectLst/>
                <a:latin typeface="Graphik"/>
              </a:rPr>
              <a:t>Define the outcomes you need a tool to help you with thinking about ambition and level of oversight / control you need. </a:t>
            </a:r>
          </a:p>
          <a:p>
            <a:r>
              <a:rPr lang="en-US" b="0" i="0" dirty="0">
                <a:solidFill>
                  <a:srgbClr val="4A4A4A"/>
                </a:solidFill>
                <a:effectLst/>
                <a:latin typeface="Graphik"/>
              </a:rPr>
              <a:t>Talk about extremes </a:t>
            </a:r>
          </a:p>
          <a:p>
            <a:r>
              <a:rPr lang="en-US" b="0" i="0" dirty="0">
                <a:solidFill>
                  <a:srgbClr val="4A4A4A"/>
                </a:solidFill>
                <a:effectLst/>
                <a:latin typeface="Graphik"/>
              </a:rPr>
              <a:t>---Ambition (measure to comply with regulations and customer requests VS Net Zero)</a:t>
            </a:r>
          </a:p>
          <a:p>
            <a:r>
              <a:rPr lang="en-US" b="0" i="0" dirty="0">
                <a:solidFill>
                  <a:srgbClr val="4A4A4A"/>
                </a:solidFill>
                <a:effectLst/>
                <a:latin typeface="Graphik"/>
              </a:rPr>
              <a:t>---Oversight (you have limited resources or appetite to oversee what suppliers are doing/staying on track, </a:t>
            </a:r>
            <a:r>
              <a:rPr lang="en-US" b="0" i="0" dirty="0" err="1">
                <a:solidFill>
                  <a:srgbClr val="4A4A4A"/>
                </a:solidFill>
                <a:effectLst/>
                <a:latin typeface="Graphik"/>
              </a:rPr>
              <a:t>etc</a:t>
            </a:r>
            <a:r>
              <a:rPr lang="en-US" b="0" i="0" dirty="0">
                <a:solidFill>
                  <a:srgbClr val="4A4A4A"/>
                </a:solidFill>
                <a:effectLst/>
                <a:latin typeface="Graphik"/>
              </a:rPr>
              <a:t> HANDS OFF. VS full visibility and tracking</a:t>
            </a:r>
          </a:p>
          <a:p>
            <a:endParaRPr lang="en-US" b="0" i="0" dirty="0">
              <a:solidFill>
                <a:srgbClr val="4A4A4A"/>
              </a:solidFill>
              <a:effectLst/>
              <a:latin typeface="Graphik"/>
            </a:endParaRPr>
          </a:p>
          <a:p>
            <a:r>
              <a:rPr lang="en-US" b="0" i="0" dirty="0">
                <a:solidFill>
                  <a:srgbClr val="4A4A4A"/>
                </a:solidFill>
                <a:effectLst/>
                <a:latin typeface="Graphik"/>
              </a:rPr>
              <a:t>Source: Getty</a:t>
            </a:r>
          </a:p>
          <a:p>
            <a:r>
              <a:rPr lang="en-US" dirty="0"/>
              <a:t>https://brand.gartner.com/content/index/guid/photography_library?parent=123&amp;search_term=marathon&amp;list_size=24&amp;sort_order=most_recent</a:t>
            </a:r>
          </a:p>
        </p:txBody>
      </p:sp>
    </p:spTree>
    <p:extLst>
      <p:ext uri="{BB962C8B-B14F-4D97-AF65-F5344CB8AC3E}">
        <p14:creationId xmlns:p14="http://schemas.microsoft.com/office/powerpoint/2010/main" val="3392154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his is a generalization of what you can expect – there are (like always) exceptions</a:t>
            </a:r>
          </a:p>
          <a:p>
            <a:r>
              <a:rPr lang="en-US" dirty="0"/>
              <a:t>---</a:t>
            </a:r>
            <a:r>
              <a:rPr lang="en-US" b="1" dirty="0"/>
              <a:t>CAM</a:t>
            </a:r>
            <a:r>
              <a:rPr lang="en-US" dirty="0"/>
              <a:t> – enterprise-focused are not always great at collecting data from suppliers</a:t>
            </a:r>
          </a:p>
          <a:p>
            <a:r>
              <a:rPr lang="en-US" dirty="0"/>
              <a:t>---Specialty – REDUCE…..might not always have the levers to decarbonize but they enable all the infrastructure to establish closer ties with suppliers and stay on top of progress</a:t>
            </a:r>
          </a:p>
        </p:txBody>
      </p:sp>
    </p:spTree>
    <p:extLst>
      <p:ext uri="{BB962C8B-B14F-4D97-AF65-F5344CB8AC3E}">
        <p14:creationId xmlns:p14="http://schemas.microsoft.com/office/powerpoint/2010/main" val="4117388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What does the process typically look like?</a:t>
            </a:r>
          </a:p>
          <a:p>
            <a:r>
              <a:rPr lang="en-US" dirty="0"/>
              <a:t>Spend significantly more time on web searches, </a:t>
            </a:r>
            <a:r>
              <a:rPr lang="en-US" dirty="0" err="1"/>
              <a:t>etc</a:t>
            </a:r>
            <a:r>
              <a:rPr lang="en-US" dirty="0"/>
              <a:t> and not enough asking peers and suppliers</a:t>
            </a:r>
          </a:p>
          <a:p>
            <a:r>
              <a:rPr lang="en-US" dirty="0"/>
              <a:t>Need to flip this around</a:t>
            </a:r>
          </a:p>
          <a:p>
            <a:endParaRPr lang="en-US" dirty="0"/>
          </a:p>
        </p:txBody>
      </p:sp>
    </p:spTree>
    <p:extLst>
      <p:ext uri="{BB962C8B-B14F-4D97-AF65-F5344CB8AC3E}">
        <p14:creationId xmlns:p14="http://schemas.microsoft.com/office/powerpoint/2010/main" val="3100892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his will help you find fewer and vendor options that are more relevant</a:t>
            </a:r>
          </a:p>
        </p:txBody>
      </p:sp>
    </p:spTree>
    <p:extLst>
      <p:ext uri="{BB962C8B-B14F-4D97-AF65-F5344CB8AC3E}">
        <p14:creationId xmlns:p14="http://schemas.microsoft.com/office/powerpoint/2010/main" val="3253633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Key word – EFFECTIVE</a:t>
            </a:r>
          </a:p>
          <a:p>
            <a:r>
              <a:rPr lang="en-US" dirty="0"/>
              <a:t>If you can, skip this process. </a:t>
            </a:r>
          </a:p>
          <a:p>
            <a:r>
              <a:rPr lang="en-US" dirty="0"/>
              <a:t>Endless companies end up spending a </a:t>
            </a:r>
            <a:r>
              <a:rPr lang="en-US" dirty="0" err="1"/>
              <a:t>lto</a:t>
            </a:r>
            <a:r>
              <a:rPr lang="en-US" dirty="0"/>
              <a:t> of time on very complex RFPs and once they receive their responses, they’re none the wiser.</a:t>
            </a:r>
          </a:p>
          <a:p>
            <a:r>
              <a:rPr lang="en-US" dirty="0"/>
              <a:t>If you feel compelled to launch an RFP &lt;CLICK&gt;</a:t>
            </a:r>
          </a:p>
        </p:txBody>
      </p:sp>
    </p:spTree>
    <p:extLst>
      <p:ext uri="{BB962C8B-B14F-4D97-AF65-F5344CB8AC3E}">
        <p14:creationId xmlns:p14="http://schemas.microsoft.com/office/powerpoint/2010/main" val="3841339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his is your opportunity to really see what the vendor offers.</a:t>
            </a:r>
          </a:p>
          <a:p>
            <a:r>
              <a:rPr lang="en-US" dirty="0"/>
              <a:t>But here’s the problem….Most companies when they ask for a demo this is the typical process &lt;CLICK&gt;</a:t>
            </a:r>
          </a:p>
        </p:txBody>
      </p:sp>
    </p:spTree>
    <p:extLst>
      <p:ext uri="{BB962C8B-B14F-4D97-AF65-F5344CB8AC3E}">
        <p14:creationId xmlns:p14="http://schemas.microsoft.com/office/powerpoint/2010/main" val="20541673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ypical process</a:t>
            </a:r>
          </a:p>
          <a:p>
            <a:r>
              <a:rPr lang="en-US" dirty="0"/>
              <a:t>A mor effective approach is asking vendors upfront to focus on the following</a:t>
            </a:r>
          </a:p>
        </p:txBody>
      </p:sp>
    </p:spTree>
    <p:extLst>
      <p:ext uri="{BB962C8B-B14F-4D97-AF65-F5344CB8AC3E}">
        <p14:creationId xmlns:p14="http://schemas.microsoft.com/office/powerpoint/2010/main" val="3242300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Horrible landscape – new vendors, existing vendors developing new capabilities and vendors from adjacent markets all looking for a piece of the pie.</a:t>
            </a:r>
          </a:p>
          <a:p>
            <a:r>
              <a:rPr lang="en-US" dirty="0"/>
              <a:t>My goal for the session – Give you the insights YOU need to navigate this very confusing landscape so you can make faster, and more confident progress towards selecting a tool that will fit your needs.</a:t>
            </a:r>
          </a:p>
        </p:txBody>
      </p:sp>
    </p:spTree>
    <p:extLst>
      <p:ext uri="{BB962C8B-B14F-4D97-AF65-F5344CB8AC3E}">
        <p14:creationId xmlns:p14="http://schemas.microsoft.com/office/powerpoint/2010/main" val="26068996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Scope 3 tools study - Oliver will share it</a:t>
            </a:r>
          </a:p>
        </p:txBody>
      </p:sp>
    </p:spTree>
    <p:extLst>
      <p:ext uri="{BB962C8B-B14F-4D97-AF65-F5344CB8AC3E}">
        <p14:creationId xmlns:p14="http://schemas.microsoft.com/office/powerpoint/2010/main" val="4171526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Most will focus on the Digital solution itself such as….</a:t>
            </a:r>
          </a:p>
          <a:p>
            <a:r>
              <a:rPr lang="en-US" dirty="0"/>
              <a:t>We also have to pay close attention to the company profile.</a:t>
            </a:r>
          </a:p>
          <a:p>
            <a:r>
              <a:rPr lang="en-US" dirty="0"/>
              <a:t>--- dynamic market. Lots of new players, starting to see some M&amp;A, </a:t>
            </a:r>
            <a:r>
              <a:rPr lang="en-US" dirty="0" err="1"/>
              <a:t>etc</a:t>
            </a:r>
            <a:endParaRPr lang="en-US" dirty="0"/>
          </a:p>
          <a:p>
            <a:r>
              <a:rPr lang="en-US" dirty="0"/>
              <a:t>--- adjust based on your risk appetite, your desire to influence product roadmaps, </a:t>
            </a:r>
            <a:r>
              <a:rPr lang="en-US" dirty="0" err="1"/>
              <a:t>etc</a:t>
            </a:r>
            <a:endParaRPr lang="en-GB" dirty="0"/>
          </a:p>
        </p:txBody>
      </p:sp>
      <p:sp>
        <p:nvSpPr>
          <p:cNvPr id="5" name="Slide Image Placeholder 4">
            <a:extLst>
              <a:ext uri="{FF2B5EF4-FFF2-40B4-BE49-F238E27FC236}">
                <a16:creationId xmlns:a16="http://schemas.microsoft.com/office/drawing/2014/main" id="{A54127A0-3D94-4240-B586-040D42D0F3E7}"/>
              </a:ext>
            </a:extLst>
          </p:cNvPr>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1109904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Our research shows that these hidden costs can be up to 50% of total costs</a:t>
            </a:r>
          </a:p>
          <a:p>
            <a:r>
              <a:rPr lang="en-US" dirty="0"/>
              <a:t>Ensure they address the relevant things listed here</a:t>
            </a:r>
          </a:p>
          <a:p>
            <a:r>
              <a:rPr lang="en-US" dirty="0"/>
              <a:t>Even if they include some of these, ask about changes – EG. # of suppliers quoted…what happens if we want to grow the program?</a:t>
            </a:r>
          </a:p>
        </p:txBody>
      </p:sp>
    </p:spTree>
    <p:extLst>
      <p:ext uri="{BB962C8B-B14F-4D97-AF65-F5344CB8AC3E}">
        <p14:creationId xmlns:p14="http://schemas.microsoft.com/office/powerpoint/2010/main" val="4130706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here you have it. Specific insights to help you navigate the tech landscape.</a:t>
            </a:r>
          </a:p>
          <a:p>
            <a:endParaRPr lang="en-US" dirty="0"/>
          </a:p>
          <a:p>
            <a:endParaRPr lang="en-US" dirty="0"/>
          </a:p>
          <a:p>
            <a:endParaRPr lang="en-US" dirty="0"/>
          </a:p>
          <a:p>
            <a:endParaRPr lang="en-US" dirty="0"/>
          </a:p>
          <a:p>
            <a:r>
              <a:rPr lang="en-US" dirty="0"/>
              <a:t>Composable </a:t>
            </a:r>
            <a:r>
              <a:rPr lang="en-US" dirty="0" err="1"/>
              <a:t>arq</a:t>
            </a:r>
            <a:r>
              <a:rPr lang="en-US" dirty="0"/>
              <a:t> – extensibility</a:t>
            </a:r>
          </a:p>
          <a:p>
            <a:endParaRPr lang="en-US" dirty="0"/>
          </a:p>
          <a:p>
            <a:r>
              <a:rPr lang="en-US" dirty="0"/>
              <a:t>Source to pay </a:t>
            </a:r>
          </a:p>
          <a:p>
            <a:r>
              <a:rPr lang="en-US" dirty="0"/>
              <a:t>ERP</a:t>
            </a:r>
          </a:p>
          <a:p>
            <a:endParaRPr lang="en-US" dirty="0"/>
          </a:p>
        </p:txBody>
      </p:sp>
    </p:spTree>
    <p:extLst>
      <p:ext uri="{BB962C8B-B14F-4D97-AF65-F5344CB8AC3E}">
        <p14:creationId xmlns:p14="http://schemas.microsoft.com/office/powerpoint/2010/main" val="2668506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DB6EE8-1724-4F75-91DE-2F0E08C38B12}"/>
              </a:ext>
            </a:extLst>
          </p:cNvPr>
          <p:cNvSpPr>
            <a:spLocks noChangeArrowheads="1"/>
          </p:cNvSpPr>
          <p:nvPr/>
        </p:nvSpPr>
        <p:spPr bwMode="auto">
          <a:xfrm>
            <a:off x="241300" y="363415"/>
            <a:ext cx="6374329" cy="280325"/>
          </a:xfrm>
          <a:prstGeom prst="rect">
            <a:avLst/>
          </a:prstGeom>
          <a:noFill/>
          <a:ln w="12700" algn="ctr">
            <a:noFill/>
            <a:miter lim="800000"/>
            <a:headEnd/>
            <a:tailEnd/>
          </a:ln>
        </p:spPr>
        <p:txBody>
          <a:bodyPr wrap="square"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
        <p:nvSpPr>
          <p:cNvPr id="5" name="Slide Image Placeholder 4">
            <a:extLst>
              <a:ext uri="{FF2B5EF4-FFF2-40B4-BE49-F238E27FC236}">
                <a16:creationId xmlns:a16="http://schemas.microsoft.com/office/drawing/2014/main" id="{154B63CF-FED5-48BE-978C-A44F948FEDD6}"/>
              </a:ext>
            </a:extLst>
          </p:cNvPr>
          <p:cNvSpPr>
            <a:spLocks noGrp="1" noRot="1" noChangeAspect="1"/>
          </p:cNvSpPr>
          <p:nvPr>
            <p:ph type="sldImg"/>
          </p:nvPr>
        </p:nvSpPr>
        <p:spPr>
          <a:xfrm>
            <a:off x="1333500" y="658813"/>
            <a:ext cx="4191000" cy="2357437"/>
          </a:xfrm>
          <a:noFill/>
          <a:ln w="12700">
            <a:solidFill>
              <a:prstClr val="black"/>
            </a:solidFill>
          </a:ln>
        </p:spPr>
      </p:sp>
      <p:sp>
        <p:nvSpPr>
          <p:cNvPr id="6" name="Notes Placeholder 5">
            <a:extLst>
              <a:ext uri="{FF2B5EF4-FFF2-40B4-BE49-F238E27FC236}">
                <a16:creationId xmlns:a16="http://schemas.microsoft.com/office/drawing/2014/main" id="{C83F0A00-9C4D-48C9-82EC-831703CC953A}"/>
              </a:ext>
            </a:extLst>
          </p:cNvPr>
          <p:cNvSpPr>
            <a:spLocks noGrp="1" noChangeAspect="1"/>
          </p:cNvSpPr>
          <p:nvPr>
            <p:ph type="body" idx="1"/>
          </p:nvPr>
        </p:nvSpPr>
        <p:spPr>
          <a:xfrm>
            <a:off x="242371" y="3134805"/>
            <a:ext cx="6373258" cy="5502055"/>
          </a:xfrm>
        </p:spPr>
        <p:txBody>
          <a:bodyPr vert="horz" lIns="0" tIns="0" rIns="0" bIns="0" rtlCol="0"/>
          <a:lstStyle/>
          <a:p>
            <a:endParaRPr lang="en-US"/>
          </a:p>
        </p:txBody>
      </p:sp>
    </p:spTree>
    <p:extLst>
      <p:ext uri="{BB962C8B-B14F-4D97-AF65-F5344CB8AC3E}">
        <p14:creationId xmlns:p14="http://schemas.microsoft.com/office/powerpoint/2010/main" val="2678199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Before we get started, a few definitions</a:t>
            </a:r>
          </a:p>
          <a:p>
            <a:r>
              <a:rPr lang="en-US" dirty="0"/>
              <a:t>Scope 3 = 15 categories. These tools are focused on Scope 3 emissions where supply chain has the greatest influence, primarily Scope 3.1 – Purchased Goods and </a:t>
            </a:r>
            <a:r>
              <a:rPr lang="en-US" dirty="0" err="1"/>
              <a:t>Svcs</a:t>
            </a:r>
            <a:endParaRPr lang="en-US" dirty="0"/>
          </a:p>
          <a:p>
            <a:r>
              <a:rPr lang="en-US" dirty="0"/>
              <a:t>Tools – anyone here can go and purchase a </a:t>
            </a:r>
            <a:r>
              <a:rPr lang="en-US" dirty="0" err="1"/>
              <a:t>licence</a:t>
            </a:r>
            <a:endParaRPr lang="en-US" dirty="0"/>
          </a:p>
        </p:txBody>
      </p:sp>
    </p:spTree>
    <p:extLst>
      <p:ext uri="{BB962C8B-B14F-4D97-AF65-F5344CB8AC3E}">
        <p14:creationId xmlns:p14="http://schemas.microsoft.com/office/powerpoint/2010/main" val="2820776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F2BFA483-3316-4E39-BDFA-E56A0D3C2CBB}"/>
              </a:ext>
            </a:extLst>
          </p:cNvPr>
          <p:cNvSpPr>
            <a:spLocks noGrp="1" noRot="1" noChangeAspect="1"/>
          </p:cNvSpPr>
          <p:nvPr>
            <p:ph type="sldImg"/>
          </p:nvPr>
        </p:nvSpPr>
        <p:spPr>
          <a:xfrm>
            <a:off x="1333500" y="658813"/>
            <a:ext cx="4191000" cy="2357437"/>
          </a:xfrm>
          <a:noFill/>
          <a:ln w="12700">
            <a:solidFill>
              <a:prstClr val="black"/>
            </a:solidFill>
          </a:ln>
        </p:spPr>
      </p:sp>
      <p:sp>
        <p:nvSpPr>
          <p:cNvPr id="5" name="Notes Placeholder 4">
            <a:extLst>
              <a:ext uri="{FF2B5EF4-FFF2-40B4-BE49-F238E27FC236}">
                <a16:creationId xmlns:a16="http://schemas.microsoft.com/office/drawing/2014/main" id="{2971E28E-6831-4B21-80FD-0D2D222C65F3}"/>
              </a:ext>
            </a:extLst>
          </p:cNvPr>
          <p:cNvSpPr>
            <a:spLocks noGrp="1" noChangeAspect="1"/>
          </p:cNvSpPr>
          <p:nvPr>
            <p:ph type="body" idx="1"/>
          </p:nvPr>
        </p:nvSpPr>
        <p:spPr>
          <a:xfrm>
            <a:off x="242371" y="3134805"/>
            <a:ext cx="6373258" cy="5502055"/>
          </a:xfrm>
        </p:spPr>
        <p:txBody>
          <a:bodyPr vert="horz" lIns="0" tIns="0" rIns="0" bIns="0" rtlCol="0"/>
          <a:lstStyle/>
          <a:p>
            <a:endParaRPr lang="en-US"/>
          </a:p>
        </p:txBody>
      </p:sp>
      <p:sp>
        <p:nvSpPr>
          <p:cNvPr id="6" name="Rectangle 5">
            <a:extLst>
              <a:ext uri="{FF2B5EF4-FFF2-40B4-BE49-F238E27FC236}">
                <a16:creationId xmlns:a16="http://schemas.microsoft.com/office/drawing/2014/main" id="{988CFBD2-E771-4482-942A-F4DFD26AAC93}"/>
              </a:ext>
            </a:extLst>
          </p:cNvPr>
          <p:cNvSpPr>
            <a:spLocks noChangeArrowheads="1"/>
          </p:cNvSpPr>
          <p:nvPr/>
        </p:nvSpPr>
        <p:spPr bwMode="auto">
          <a:xfrm>
            <a:off x="241300" y="363415"/>
            <a:ext cx="6374329" cy="280325"/>
          </a:xfrm>
          <a:prstGeom prst="rect">
            <a:avLst/>
          </a:prstGeom>
          <a:noFill/>
          <a:ln w="12700" algn="ctr">
            <a:noFill/>
            <a:miter lim="800000"/>
            <a:headEnd/>
            <a:tailEnd/>
          </a:ln>
        </p:spPr>
        <p:txBody>
          <a:bodyPr wrap="square"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2248069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Let’s start with a little quiz – open it up to the audience</a:t>
            </a:r>
          </a:p>
          <a:p>
            <a:r>
              <a:rPr lang="en-US" dirty="0"/>
              <a:t>BTW – picked these randomly, I am in no way endorsing any of these – some are great others not so great</a:t>
            </a:r>
          </a:p>
          <a:p>
            <a:r>
              <a:rPr lang="en-US" dirty="0"/>
              <a:t>Very different…but they can all help with Scope 3 albeit in VERY different ways. </a:t>
            </a:r>
            <a:r>
              <a:rPr lang="en-US" b="1" dirty="0"/>
              <a:t>If you run a comparison of these 4 (which is not uncommon) you’ll have a VERY hard time comparing them</a:t>
            </a:r>
          </a:p>
        </p:txBody>
      </p:sp>
    </p:spTree>
    <p:extLst>
      <p:ext uri="{BB962C8B-B14F-4D97-AF65-F5344CB8AC3E}">
        <p14:creationId xmlns:p14="http://schemas.microsoft.com/office/powerpoint/2010/main" val="3163842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he best way to think about the solution landscape is this.</a:t>
            </a:r>
          </a:p>
          <a:p>
            <a:r>
              <a:rPr lang="en-US" dirty="0"/>
              <a:t>Carbon </a:t>
            </a:r>
            <a:r>
              <a:rPr lang="en-US" dirty="0" err="1"/>
              <a:t>Mgmt</a:t>
            </a:r>
            <a:r>
              <a:rPr lang="en-US" dirty="0"/>
              <a:t> / ESG - Talk about supply-chain focused vs  enterprise focused (the nuance of it)</a:t>
            </a:r>
          </a:p>
          <a:p>
            <a:r>
              <a:rPr lang="en-US" dirty="0"/>
              <a:t>How to identify these (primary focus, </a:t>
            </a:r>
            <a:r>
              <a:rPr lang="en-US" dirty="0" err="1"/>
              <a:t>etc</a:t>
            </a:r>
            <a:r>
              <a:rPr lang="en-US" dirty="0"/>
              <a:t>)</a:t>
            </a:r>
          </a:p>
          <a:p>
            <a:r>
              <a:rPr lang="en-US" dirty="0"/>
              <a:t>WHY it’s important to differentiate</a:t>
            </a:r>
          </a:p>
        </p:txBody>
      </p:sp>
    </p:spTree>
    <p:extLst>
      <p:ext uri="{BB962C8B-B14F-4D97-AF65-F5344CB8AC3E}">
        <p14:creationId xmlns:p14="http://schemas.microsoft.com/office/powerpoint/2010/main" val="2365596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A quick look at their websites can help you start classifying them</a:t>
            </a:r>
          </a:p>
          <a:p>
            <a:endParaRPr lang="en-US" dirty="0"/>
          </a:p>
        </p:txBody>
      </p:sp>
    </p:spTree>
    <p:extLst>
      <p:ext uri="{BB962C8B-B14F-4D97-AF65-F5344CB8AC3E}">
        <p14:creationId xmlns:p14="http://schemas.microsoft.com/office/powerpoint/2010/main" val="369656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All vendors, even those that are not carbon tools are looking to cover the broad spectrum of outcomes, offering basic capabilities you can see on top</a:t>
            </a:r>
          </a:p>
          <a:p>
            <a:r>
              <a:rPr lang="en-US" dirty="0"/>
              <a:t>However – some are now developing more advanced capabilities</a:t>
            </a:r>
          </a:p>
          <a:p>
            <a:r>
              <a:rPr lang="en-US" dirty="0"/>
              <a:t>////go through each set</a:t>
            </a:r>
          </a:p>
          <a:p>
            <a:endParaRPr lang="en-US" dirty="0"/>
          </a:p>
          <a:p>
            <a:r>
              <a:rPr lang="en-US" dirty="0"/>
              <a:t>--</a:t>
            </a:r>
            <a:r>
              <a:rPr lang="en-US" dirty="0">
                <a:sym typeface="Wingdings" panose="05000000000000000000" pitchFamily="2" charset="2"/>
              </a:rPr>
              <a:t> If you’re looking at all these capabilities and thinking “I want them all” I’m sorry to say &lt;CLICK&gt;</a:t>
            </a:r>
            <a:endParaRPr lang="en-US" dirty="0"/>
          </a:p>
        </p:txBody>
      </p:sp>
    </p:spTree>
    <p:extLst>
      <p:ext uri="{BB962C8B-B14F-4D97-AF65-F5344CB8AC3E}">
        <p14:creationId xmlns:p14="http://schemas.microsoft.com/office/powerpoint/2010/main" val="900939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r>
              <a:rPr lang="en-US" dirty="0"/>
              <a:t>There’s NO silver bullet</a:t>
            </a:r>
          </a:p>
        </p:txBody>
      </p:sp>
    </p:spTree>
    <p:extLst>
      <p:ext uri="{BB962C8B-B14F-4D97-AF65-F5344CB8AC3E}">
        <p14:creationId xmlns:p14="http://schemas.microsoft.com/office/powerpoint/2010/main" val="25972394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hyperlink" Target="https://www.gartner.com/technology/about/ombudsman/omb_guide2.jsp"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hyperlink" Target="https://www.gartner.com/technology/about/ombudsman/omb_guide2.jsp" TargetMode="Externa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9688259" y="5975537"/>
            <a:ext cx="2053216" cy="468817"/>
          </a:xfrm>
          <a:prstGeom prst="rect">
            <a:avLst/>
          </a:prstGeom>
        </p:spPr>
      </p:pic>
      <p:sp>
        <p:nvSpPr>
          <p:cNvPr id="20" name="Text - Presenter Name"/>
          <p:cNvSpPr>
            <a:spLocks noGrp="1" noChangeArrowheads="1"/>
          </p:cNvSpPr>
          <p:nvPr>
            <p:ph type="subTitle" idx="1" hasCustomPrompt="1"/>
          </p:nvPr>
        </p:nvSpPr>
        <p:spPr bwMode="black">
          <a:xfrm>
            <a:off x="987462" y="4187546"/>
            <a:ext cx="7299287"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Arial" panose="020B0604020202020204" pitchFamily="34" charset="0"/>
              <a:buNone/>
              <a:defRPr sz="1800">
                <a:solidFill>
                  <a:srgbClr val="FFFFFF"/>
                </a:solidFill>
                <a:latin typeface="+mn-lt"/>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black">
          <a:xfrm>
            <a:off x="987463" y="2070748"/>
            <a:ext cx="7299287"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Arial Black" panose="020B0A04020102020204" pitchFamily="34" charset="0"/>
                <a:cs typeface="Arial"/>
              </a:defRPr>
            </a:lvl1pPr>
          </a:lstStyle>
          <a:p>
            <a:r>
              <a:rPr lang="en-US" dirty="0"/>
              <a:t>Click to Edit Title; Maximum of Four Lines; Reduce Font to Fit Focus Frame If Needed</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BDBDB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1 – 2 Month 2019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err="1">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err="1">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BDBDBD"/>
                </a:solidFill>
              </a:rPr>
              <a:t>© 2024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BDBDBD"/>
                </a:solidFill>
                <a:hlinkClick r:id="rId3">
                  <a:extLst>
                    <a:ext uri="{A12FA001-AC4F-418D-AE19-62706E023703}">
                      <ahyp:hlinkClr xmlns:ahyp="http://schemas.microsoft.com/office/drawing/2018/hyperlinkcolor" val="tx"/>
                    </a:ext>
                  </a:extLst>
                </a:hlinkClick>
              </a:rPr>
              <a:t>Gartner’s Usage Policy</a:t>
            </a:r>
            <a:r>
              <a:rPr lang="en-US" dirty="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dirty="0">
                <a:solidFill>
                  <a:srgbClr val="BDBDBD"/>
                </a:solidFill>
              </a:rPr>
              <a:t>."</a:t>
            </a:r>
          </a:p>
        </p:txBody>
      </p:sp>
    </p:spTree>
    <p:extLst>
      <p:ext uri="{BB962C8B-B14F-4D97-AF65-F5344CB8AC3E}">
        <p14:creationId xmlns:p14="http://schemas.microsoft.com/office/powerpoint/2010/main" val="34643697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hasCustomPrompt="1"/>
          </p:nvPr>
        </p:nvSpPr>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950976">
              <a:defRPr/>
            </a:lvl2pPr>
            <a:lvl3pPr marL="1389888">
              <a:defRPr/>
            </a:lvl3pPr>
            <a:lvl4pPr marL="1883664">
              <a:defRPr/>
            </a:lvl4pPr>
            <a:lvl5pPr marL="2322576">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36699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1" y="1527175"/>
            <a:ext cx="11276012" cy="4460875"/>
          </a:xfrm>
        </p:spPr>
        <p:txBody>
          <a:bodyPr>
            <a:noAutofit/>
          </a:bodyPr>
          <a:lstStyle>
            <a:lvl1pPr marL="0" indent="0">
              <a:buNone/>
              <a:defRPr sz="2800" b="1"/>
            </a:lvl1pPr>
            <a:lvl2pPr marL="457200" indent="-246888">
              <a:buClrTx/>
              <a:buSzPct val="100000"/>
              <a:buFont typeface="Arial" panose="020B0604020202020204" pitchFamily="34" charset="0"/>
              <a:buChar char="•"/>
              <a:defRPr sz="2400"/>
            </a:lvl2pPr>
            <a:lvl3pPr marL="932688" indent="-310896">
              <a:buFont typeface="Arial" panose="020B0604020202020204" pitchFamily="34" charset="0"/>
              <a:buChar char="–"/>
              <a:defRPr sz="2400"/>
            </a:lvl3pPr>
            <a:lvl4pPr marL="1371600" indent="-246888">
              <a:buSzPct val="100000"/>
              <a:buFont typeface="Arial" panose="020B0604020202020204" pitchFamily="34" charset="0"/>
              <a:buChar char="•"/>
              <a:defRPr sz="2400"/>
            </a:lvl4pPr>
            <a:lvl5pPr marL="1874520" indent="-32004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7757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1624453"/>
            <a:ext cx="11276013" cy="4460873"/>
          </a:xfrm>
        </p:spPr>
        <p:txBody>
          <a:bodyPr/>
          <a:lstStyle>
            <a:lvl1pPr marL="457200" indent="-457200">
              <a:buClr>
                <a:schemeClr val="tx2"/>
              </a:buClr>
              <a:buSzPct val="130000"/>
              <a:buFontTx/>
              <a:buBlip>
                <a:blip r:embed="rId2">
                  <a:extLst>
                    <a:ext uri="{96DAC541-7B7A-43D3-8B79-37D633B846F1}">
                      <asvg:svgBlip xmlns:asvg="http://schemas.microsoft.com/office/drawing/2016/SVG/main" r:embed="rId3"/>
                    </a:ext>
                  </a:extLst>
                </a:blip>
              </a:buBlip>
              <a:defRPr/>
            </a:lvl1pPr>
            <a:lvl2pPr marL="950976">
              <a:buClrTx/>
              <a:defRPr/>
            </a:lvl2pPr>
            <a:lvl3pPr marL="1389888">
              <a:buClrTx/>
              <a:defRPr/>
            </a:lvl3pPr>
            <a:lvl4pPr marL="1883664">
              <a:buClrTx/>
              <a:defRPr/>
            </a:lvl4pPr>
            <a:lvl5pPr marL="2322576">
              <a:buClrTx/>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Box 91"/>
          <p:cNvSpPr txBox="1">
            <a:spLocks noChangeAspect="1" noChangeArrowheads="1"/>
          </p:cNvSpPr>
          <p:nvPr userDrawn="1"/>
        </p:nvSpPr>
        <p:spPr bwMode="gray">
          <a:xfrm>
            <a:off x="457200" y="6230064"/>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dirty="0">
                <a:solidFill>
                  <a:schemeClr val="tx1"/>
                </a:solidFill>
              </a:rPr>
              <a:t>Access to Gartner research is subject to individual subscription type and product entitlements.</a:t>
            </a:r>
          </a:p>
        </p:txBody>
      </p:sp>
    </p:spTree>
    <p:extLst>
      <p:ext uri="{BB962C8B-B14F-4D97-AF65-F5344CB8AC3E}">
        <p14:creationId xmlns:p14="http://schemas.microsoft.com/office/powerpoint/2010/main" val="804461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1527175"/>
            <a:ext cx="11276013" cy="3251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hasCustomPrompt="1"/>
          </p:nvPr>
        </p:nvSpPr>
        <p:spPr bwMode="ltGray">
          <a:xfrm>
            <a:off x="457200" y="4778375"/>
            <a:ext cx="11276013" cy="1209675"/>
          </a:xfrm>
          <a:solidFill>
            <a:srgbClr val="002856"/>
          </a:solidFill>
        </p:spPr>
        <p:txBody>
          <a:bodyPr lIns="137160" tIns="91440" rIns="91440" bIns="91440" anchor="ctr" anchorCtr="0"/>
          <a:lstStyle>
            <a:lvl1pPr marL="0" indent="0">
              <a:spcBef>
                <a:spcPts val="600"/>
              </a:spcBef>
              <a:buNone/>
              <a:defRPr>
                <a:solidFill>
                  <a:srgbClr val="FFFFFF"/>
                </a:solidFill>
              </a:defRPr>
            </a:lvl1pPr>
          </a:lstStyle>
          <a:p>
            <a:pPr lvl="0"/>
            <a:r>
              <a:rPr lang="en-US" dirty="0"/>
              <a:t>Edit Master text styles</a:t>
            </a:r>
          </a:p>
        </p:txBody>
      </p:sp>
    </p:spTree>
    <p:extLst>
      <p:ext uri="{BB962C8B-B14F-4D97-AF65-F5344CB8AC3E}">
        <p14:creationId xmlns:p14="http://schemas.microsoft.com/office/powerpoint/2010/main" val="1394546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3"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Char char="•"/>
            </a:pPr>
            <a:r>
              <a:rPr lang="en-US" dirty="0"/>
              <a:t>Second level</a:t>
            </a:r>
          </a:p>
          <a:p>
            <a:pPr marL="740664" lvl="2" indent="-310896">
              <a:buChar char="–"/>
            </a:pPr>
            <a:r>
              <a:rPr lang="en-US" dirty="0"/>
              <a:t>Third level</a:t>
            </a:r>
          </a:p>
          <a:p>
            <a:pPr marL="1179576" lvl="3" indent="-246888">
              <a:buChar char="•"/>
            </a:pPr>
            <a:r>
              <a:rPr lang="en-US" dirty="0"/>
              <a:t>Fourth level</a:t>
            </a:r>
          </a:p>
          <a:p>
            <a:pPr marL="1673352" lvl="4">
              <a:buChar char="–"/>
            </a:pPr>
            <a:r>
              <a:rPr lang="en-US" dirty="0"/>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527175"/>
            <a:ext cx="3336925" cy="4460875"/>
          </a:xfrm>
        </p:spPr>
        <p:txBody>
          <a:bodyPr>
            <a:noAutofit/>
          </a:bodyPr>
          <a:lstStyle>
            <a:lvl1pPr marL="0" indent="0">
              <a:buNone/>
              <a:defRPr sz="2000" b="1"/>
            </a:lvl1pPr>
            <a:lvl2pPr marL="246888" indent="-246888">
              <a:buClrTx/>
              <a:buSzPct val="100000"/>
              <a:buFont typeface="Arial" panose="020B0604020202020204" pitchFamily="34" charset="0"/>
              <a:buChar char="•"/>
              <a:defRPr sz="2000"/>
            </a:lvl2pPr>
            <a:lvl3pPr marL="740664" indent="-310896">
              <a:buFont typeface="Arial" panose="020B0604020202020204" pitchFamily="34" charset="0"/>
              <a:buChar char="–"/>
              <a:defRPr sz="2000"/>
            </a:lvl3pPr>
            <a:lvl4pPr marL="1179576" indent="-246888">
              <a:buSzPct val="100000"/>
              <a:buFont typeface="Arial" panose="020B0604020202020204" pitchFamily="34" charset="0"/>
              <a:buChar char="•"/>
              <a:defRPr sz="2000"/>
            </a:lvl4pPr>
            <a:lvl5pPr marL="1673352" indent="-246888">
              <a:buFont typeface="Arial" panose="020B0604020202020204" pitchFamily="34" charset="0"/>
              <a:buChar cha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CC79DA94-4E9A-445A-BBBE-92C436B37B59}"/>
              </a:ext>
            </a:extLst>
          </p:cNvPr>
          <p:cNvSpPr>
            <a:spLocks noGrp="1"/>
          </p:cNvSpPr>
          <p:nvPr>
            <p:ph type="body" sz="quarter" idx="17" hasCustomPrompt="1"/>
          </p:nvPr>
        </p:nvSpPr>
        <p:spPr>
          <a:xfrm>
            <a:off x="8396288"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Char char="•"/>
            </a:pPr>
            <a:r>
              <a:rPr lang="en-US" dirty="0"/>
              <a:t>Second level</a:t>
            </a:r>
          </a:p>
          <a:p>
            <a:pPr marL="740664" lvl="2" indent="-310896">
              <a:buChar char="–"/>
            </a:pPr>
            <a:r>
              <a:rPr lang="en-US" dirty="0"/>
              <a:t>Third level</a:t>
            </a:r>
          </a:p>
          <a:p>
            <a:pPr marL="1179576" lvl="3" indent="-246888">
              <a:buChar char="•"/>
            </a:pPr>
            <a:r>
              <a:rPr lang="en-US" dirty="0"/>
              <a:t>Fourth level</a:t>
            </a:r>
          </a:p>
          <a:p>
            <a:pPr marL="1673352" lvl="4">
              <a:buChar char="–"/>
            </a:pPr>
            <a:r>
              <a:rPr lang="en-US" dirty="0"/>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a:xfrm>
            <a:off x="4424193" y="1527175"/>
            <a:ext cx="3336925" cy="4460875"/>
          </a:xfr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Char char="•"/>
            </a:pPr>
            <a:r>
              <a:rPr lang="en-US" dirty="0"/>
              <a:t>Second level</a:t>
            </a:r>
          </a:p>
          <a:p>
            <a:pPr marL="740664" lvl="2" indent="-310896">
              <a:buChar char="–"/>
            </a:pPr>
            <a:r>
              <a:rPr lang="en-US" dirty="0"/>
              <a:t>Third level</a:t>
            </a:r>
          </a:p>
          <a:p>
            <a:pPr marL="1179576" lvl="3" indent="-246888">
              <a:buChar char="•"/>
            </a:pPr>
            <a:r>
              <a:rPr lang="en-US" dirty="0"/>
              <a:t>Fourth level</a:t>
            </a:r>
          </a:p>
          <a:p>
            <a:pPr marL="1673352" lvl="4" indent="-320040">
              <a:buChar char="–"/>
            </a:pPr>
            <a:r>
              <a:rPr lang="en-US" dirty="0"/>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0" y="1527175"/>
            <a:ext cx="3336925" cy="4460875"/>
          </a:xfrm>
          <a:solidFill>
            <a:srgbClr val="D3D3D3"/>
          </a:solidFill>
        </p:spPr>
        <p:txBody>
          <a:bodyPr lIns="182880" tIns="182880" rIns="91440" bIns="182880">
            <a:noAutofit/>
          </a:bodyPr>
          <a:lstStyle>
            <a:lvl1pPr marL="0" indent="0">
              <a:buNone/>
              <a:defRPr sz="2000" b="1"/>
            </a:lvl1pPr>
            <a:lvl2pPr marL="246888" indent="-246888">
              <a:buClrTx/>
              <a:buSzPct val="100000"/>
              <a:buFont typeface="Arial" panose="020B0604020202020204" pitchFamily="34" charset="0"/>
              <a:buChar char="•"/>
              <a:defRPr sz="2000"/>
            </a:lvl2pPr>
            <a:lvl3pPr marL="740664" indent="-310896">
              <a:buFont typeface="Arial" panose="020B0604020202020204" pitchFamily="34" charset="0"/>
              <a:buChar char="–"/>
              <a:defRPr sz="2000"/>
            </a:lvl3pPr>
            <a:lvl4pPr marL="1179576" indent="-246888">
              <a:buSzPct val="100000"/>
              <a:buFont typeface="Arial" panose="020B0604020202020204" pitchFamily="34" charset="0"/>
              <a:buChar char="•"/>
              <a:defRPr sz="2000"/>
            </a:lvl4pPr>
            <a:lvl5pPr marL="1673352" indent="-320040">
              <a:buFont typeface="Arial" panose="020B0604020202020204" pitchFamily="34" charset="0"/>
              <a:buChar cha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F7B06725-09F7-4703-BCE3-493A95404A76}"/>
              </a:ext>
            </a:extLst>
          </p:cNvPr>
          <p:cNvSpPr>
            <a:spLocks noGrp="1"/>
          </p:cNvSpPr>
          <p:nvPr>
            <p:ph type="body" sz="quarter" idx="17" hasCustomPrompt="1"/>
          </p:nvPr>
        </p:nvSpPr>
        <p:spPr>
          <a:xfrm>
            <a:off x="8396288" y="1527175"/>
            <a:ext cx="3336925" cy="4460875"/>
          </a:xfrm>
          <a:solidFill>
            <a:srgbClr val="D3D3D3"/>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Char char="•"/>
            </a:pPr>
            <a:r>
              <a:rPr lang="en-US" dirty="0"/>
              <a:t>Second level</a:t>
            </a:r>
          </a:p>
          <a:p>
            <a:pPr marL="740664" lvl="2" indent="-310896">
              <a:buChar char="–"/>
            </a:pPr>
            <a:r>
              <a:rPr lang="en-US" dirty="0"/>
              <a:t>Third level</a:t>
            </a:r>
          </a:p>
          <a:p>
            <a:pPr marL="1179576" lvl="3" indent="-246888">
              <a:buChar char="•"/>
            </a:pPr>
            <a:r>
              <a:rPr lang="en-US" dirty="0"/>
              <a:t>Fourth level</a:t>
            </a:r>
          </a:p>
          <a:p>
            <a:pPr marL="1673352" lvl="4" indent="-320040">
              <a:buChar char="–"/>
            </a:pPr>
            <a:r>
              <a:rPr lang="en-US" dirty="0"/>
              <a:t>Fifth level</a:t>
            </a:r>
          </a:p>
        </p:txBody>
      </p:sp>
    </p:spTree>
    <p:extLst>
      <p:ext uri="{BB962C8B-B14F-4D97-AF65-F5344CB8AC3E}">
        <p14:creationId xmlns:p14="http://schemas.microsoft.com/office/powerpoint/2010/main" val="2699413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dirty="0"/>
              <a:t>Title Center Layout</a:t>
            </a:r>
          </a:p>
        </p:txBody>
      </p:sp>
    </p:spTree>
    <p:extLst>
      <p:ext uri="{BB962C8B-B14F-4D97-AF65-F5344CB8AC3E}">
        <p14:creationId xmlns:p14="http://schemas.microsoft.com/office/powerpoint/2010/main" val="2498071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F1984C1-A142-A5B3-40FF-9DCEB13526F5}"/>
              </a:ext>
            </a:extLst>
          </p:cNvPr>
          <p:cNvSpPr>
            <a:spLocks noGrp="1"/>
          </p:cNvSpPr>
          <p:nvPr>
            <p:ph type="body" sz="quarter" idx="10"/>
          </p:nvPr>
        </p:nvSpPr>
        <p:spPr>
          <a:xfrm>
            <a:off x="457200" y="3152001"/>
            <a:ext cx="11276013" cy="553998"/>
          </a:xfrm>
        </p:spPr>
        <p:txBody>
          <a:bodyPr anchor="ctr" anchorCtr="0">
            <a:spAutoFit/>
          </a:bodyPr>
          <a:lstStyle>
            <a:lvl1pPr marL="0" indent="0" algn="ctr">
              <a:buFont typeface="Arial" panose="020B0604020202020204" pitchFamily="34" charset="0"/>
              <a:buChar char="​"/>
              <a:defRPr sz="4000">
                <a:solidFill>
                  <a:schemeClr val="tx2"/>
                </a:solidFill>
                <a:latin typeface="+mj-lt"/>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lvl4pPr>
            <a:lvl5pPr marL="0" indent="0" algn="ctr">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32839221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7" y="1527176"/>
            <a:ext cx="4906765" cy="2937249"/>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3200" b="1">
                <a:solidFill>
                  <a:schemeClr val="tx2"/>
                </a:solidFill>
                <a:latin typeface="Arial Black" panose="020B0A04020102020204" pitchFamily="34" charset="0"/>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dirty="0"/>
              <a:t>Divider Slide</a:t>
            </a:r>
            <a:br>
              <a:rPr lang="en-US" dirty="0"/>
            </a:br>
            <a:r>
              <a:rPr lang="en-US" dirty="0"/>
              <a:t>30 Characters</a:t>
            </a:r>
            <a:br>
              <a:rPr lang="en-US" dirty="0"/>
            </a:br>
            <a:r>
              <a:rPr lang="en-US" dirty="0"/>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543869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708685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10454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8526256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632659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1009268"/>
            <a:ext cx="6060141" cy="4476115"/>
          </a:xfrm>
        </p:spPr>
        <p:txBody>
          <a:bodyPr anchor="ctr" anchorCtr="0"/>
          <a:lstStyle>
            <a:lvl1pPr marL="0" indent="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457200" y="5485384"/>
            <a:ext cx="6060141"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175680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457199" y="1009268"/>
            <a:ext cx="8366761" cy="4476115"/>
          </a:xfrm>
        </p:spPr>
        <p:txBody>
          <a:bodyPr anchor="ctr" anchorCtr="0"/>
          <a:lstStyle>
            <a:lvl1pPr marL="0" indent="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457199" y="5485384"/>
            <a:ext cx="8366761"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0764005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85458923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303406491"/>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lgn="l">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872673164"/>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3553224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8316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91659188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rcRect/>
          <a:stretch/>
        </p:blipFill>
        <p:spPr bwMode="black">
          <a:xfrm>
            <a:off x="9688259" y="5975537"/>
            <a:ext cx="2053216" cy="468817"/>
          </a:xfrm>
          <a:prstGeom prst="rect">
            <a:avLst/>
          </a:prstGeom>
        </p:spPr>
      </p:pic>
      <p:sp>
        <p:nvSpPr>
          <p:cNvPr id="20" name="Text - Presenter Name"/>
          <p:cNvSpPr>
            <a:spLocks noGrp="1" noChangeArrowheads="1"/>
          </p:cNvSpPr>
          <p:nvPr>
            <p:ph type="subTitle" idx="1" hasCustomPrompt="1"/>
          </p:nvPr>
        </p:nvSpPr>
        <p:spPr bwMode="black">
          <a:xfrm>
            <a:off x="987463" y="4187546"/>
            <a:ext cx="7228206"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Arial" panose="020B0604020202020204" pitchFamily="34" charset="0"/>
              <a:buNone/>
              <a:defRPr sz="1800">
                <a:solidFill>
                  <a:srgbClr val="FFFFFF"/>
                </a:solidFill>
                <a:latin typeface="+mn-lt"/>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black">
          <a:xfrm>
            <a:off x="987463" y="2070748"/>
            <a:ext cx="7228205"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Arial Black" panose="020B0A04020102020204" pitchFamily="34" charset="0"/>
                <a:cs typeface="Arial"/>
              </a:defRPr>
            </a:lvl1pPr>
          </a:lstStyle>
          <a:p>
            <a:r>
              <a:rPr lang="en-US" dirty="0"/>
              <a:t>Title Here</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BDBDB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1 – 2 Month 2020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err="1">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err="1">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BDBDBD"/>
                </a:solidFill>
              </a:rPr>
              <a:t>© 2024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BDBDBD"/>
                </a:solidFill>
                <a:hlinkClick r:id="rId3">
                  <a:extLst>
                    <a:ext uri="{A12FA001-AC4F-418D-AE19-62706E023703}">
                      <ahyp:hlinkClr xmlns:ahyp="http://schemas.microsoft.com/office/drawing/2018/hyperlinkcolor" val="tx"/>
                    </a:ext>
                  </a:extLst>
                </a:hlinkClick>
              </a:rPr>
              <a:t>Gartner’s Usage Policy</a:t>
            </a:r>
            <a:r>
              <a:rPr lang="en-US" dirty="0">
                <a:solidFill>
                  <a:srgbClr val="BDBDB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BDBDBD"/>
                </a:solidFill>
                <a:hlinkClick r:id="rId4">
                  <a:extLst>
                    <a:ext uri="{A12FA001-AC4F-418D-AE19-62706E023703}">
                      <ahyp:hlinkClr xmlns:ahyp="http://schemas.microsoft.com/office/drawing/2018/hyperlinkcolor" val="tx"/>
                    </a:ext>
                  </a:extLst>
                </a:hlinkClick>
              </a:rPr>
              <a:t>Guiding Principles on Independence and Objectivity</a:t>
            </a:r>
            <a:r>
              <a:rPr lang="en-US" dirty="0">
                <a:solidFill>
                  <a:srgbClr val="BDBDBD"/>
                </a:solidFill>
              </a:rPr>
              <a:t>."</a:t>
            </a:r>
          </a:p>
        </p:txBody>
      </p:sp>
    </p:spTree>
    <p:extLst>
      <p:ext uri="{BB962C8B-B14F-4D97-AF65-F5344CB8AC3E}">
        <p14:creationId xmlns:p14="http://schemas.microsoft.com/office/powerpoint/2010/main" val="289552828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219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888217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246888" lvl="0" indent="-246888"/>
            <a:r>
              <a:rPr lang="en-US" dirty="0"/>
              <a:t>Edit Master text styles</a:t>
            </a:r>
          </a:p>
          <a:p>
            <a:pPr marL="740664" lvl="1" indent="-310896">
              <a:buSzPct val="100000"/>
            </a:pPr>
            <a:r>
              <a:rPr lang="en-US" dirty="0"/>
              <a:t>Second level</a:t>
            </a:r>
          </a:p>
          <a:p>
            <a:pPr marL="1179576" lvl="2" indent="-246888"/>
            <a:r>
              <a:rPr lang="en-US" dirty="0"/>
              <a:t>Third level</a:t>
            </a:r>
          </a:p>
          <a:p>
            <a:pPr marL="1673352" lvl="3" indent="-320040">
              <a:buSzPct val="100000"/>
            </a:pPr>
            <a:r>
              <a:rPr lang="en-US" dirty="0"/>
              <a:t>Fourth level</a:t>
            </a:r>
          </a:p>
          <a:p>
            <a:pPr marL="2112264" lvl="4" indent="-246888"/>
            <a:r>
              <a:rPr lang="en-US" dirty="0"/>
              <a:t>Fifth level</a:t>
            </a:r>
          </a:p>
        </p:txBody>
      </p:sp>
    </p:spTree>
    <p:extLst>
      <p:ext uri="{BB962C8B-B14F-4D97-AF65-F5344CB8AC3E}">
        <p14:creationId xmlns:p14="http://schemas.microsoft.com/office/powerpoint/2010/main" val="28488935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365760" lvl="0" indent="-365760">
              <a:buFont typeface="+mj-lt"/>
              <a:buAutoNum type="arabicPeriod"/>
            </a:pPr>
            <a:r>
              <a:rPr lang="en-US" dirty="0"/>
              <a:t>Edit Master text styles</a:t>
            </a:r>
          </a:p>
          <a:p>
            <a:pPr marL="859536" lvl="1" indent="-310896">
              <a:buSzPct val="100000"/>
            </a:pPr>
            <a:r>
              <a:rPr lang="en-US" dirty="0"/>
              <a:t>Second level</a:t>
            </a:r>
          </a:p>
          <a:p>
            <a:pPr marL="1298448" lvl="2" indent="-246888"/>
            <a:r>
              <a:rPr lang="en-US" dirty="0"/>
              <a:t>Third level</a:t>
            </a:r>
          </a:p>
          <a:p>
            <a:pPr marL="1792224" lvl="3" indent="-320040">
              <a:buSzPct val="100000"/>
            </a:pPr>
            <a:r>
              <a:rPr lang="en-US" dirty="0"/>
              <a:t>Fourth level</a:t>
            </a:r>
          </a:p>
          <a:p>
            <a:pPr marL="2231136" lvl="4" indent="-246888"/>
            <a:r>
              <a:rPr lang="en-US" dirty="0"/>
              <a:t>Fifth level</a:t>
            </a:r>
          </a:p>
        </p:txBody>
      </p:sp>
    </p:spTree>
    <p:extLst>
      <p:ext uri="{BB962C8B-B14F-4D97-AF65-F5344CB8AC3E}">
        <p14:creationId xmlns:p14="http://schemas.microsoft.com/office/powerpoint/2010/main" val="13284078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vert="horz" lIns="0" tIns="0" rIns="0" bIns="0" rtlCol="0">
            <a:noAutofit/>
          </a:bodyPr>
          <a:lstStyle>
            <a:lvl1pPr>
              <a:defRPr lang="en-US" dirty="0">
                <a:solidFill>
                  <a:srgbClr val="BDBDBD"/>
                </a:solidFill>
              </a:defRPr>
            </a:lvl1pPr>
            <a:lvl2pPr>
              <a:defRPr lang="en-US" dirty="0">
                <a:solidFill>
                  <a:srgbClr val="BDBDBD"/>
                </a:solidFill>
              </a:defRPr>
            </a:lvl2pPr>
            <a:lvl3pPr>
              <a:defRPr lang="en-US" dirty="0">
                <a:solidFill>
                  <a:srgbClr val="BDBDBD"/>
                </a:solidFill>
              </a:defRPr>
            </a:lvl3pPr>
            <a:lvl4pPr>
              <a:defRPr lang="en-US" dirty="0">
                <a:solidFill>
                  <a:srgbClr val="BDBDBD"/>
                </a:solidFill>
              </a:defRPr>
            </a:lvl4pPr>
            <a:lvl5pPr>
              <a:defRPr lang="en-US" dirty="0">
                <a:solidFill>
                  <a:srgbClr val="BDBDBD"/>
                </a:solidFill>
              </a:defRPr>
            </a:lvl5pPr>
          </a:lstStyle>
          <a:p>
            <a:pPr marL="365760" lvl="0" indent="-365760">
              <a:buFont typeface="+mj-lt"/>
              <a:buAutoNum type="arabicPeriod"/>
            </a:pPr>
            <a:r>
              <a:rPr lang="en-US" dirty="0"/>
              <a:t>Click to edit Master text styles</a:t>
            </a:r>
          </a:p>
          <a:p>
            <a:pPr marL="859536" lvl="1" indent="-310896">
              <a:buClr>
                <a:srgbClr val="979D9D"/>
              </a:buClr>
              <a:buSzPct val="100000"/>
            </a:pPr>
            <a:r>
              <a:rPr lang="en-US" dirty="0"/>
              <a:t>Second level</a:t>
            </a:r>
          </a:p>
          <a:p>
            <a:pPr marL="1298448" lvl="2" indent="-246888">
              <a:buClr>
                <a:srgbClr val="979D9D"/>
              </a:buClr>
            </a:pPr>
            <a:r>
              <a:rPr lang="en-US" dirty="0"/>
              <a:t>Third level</a:t>
            </a:r>
          </a:p>
          <a:p>
            <a:pPr marL="1792224" lvl="3" indent="-320040">
              <a:buClr>
                <a:srgbClr val="979D9D"/>
              </a:buClr>
              <a:buSzPct val="100000"/>
            </a:pPr>
            <a:r>
              <a:rPr lang="en-US" dirty="0"/>
              <a:t>Fourth level</a:t>
            </a:r>
          </a:p>
          <a:p>
            <a:pPr marL="2231136" lvl="4" indent="-246888">
              <a:buClr>
                <a:srgbClr val="979D9D"/>
              </a:buClr>
            </a:pPr>
            <a:r>
              <a:rPr lang="en-US" dirty="0"/>
              <a:t>Fifth level</a:t>
            </a:r>
          </a:p>
        </p:txBody>
      </p:sp>
    </p:spTree>
    <p:extLst>
      <p:ext uri="{BB962C8B-B14F-4D97-AF65-F5344CB8AC3E}">
        <p14:creationId xmlns:p14="http://schemas.microsoft.com/office/powerpoint/2010/main" val="38209919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Content Placeholder 4"/>
          <p:cNvSpPr>
            <a:spLocks noGrp="1"/>
          </p:cNvSpPr>
          <p:nvPr>
            <p:ph sz="quarter" idx="10"/>
          </p:nvPr>
        </p:nvSpPr>
        <p:spPr>
          <a:xfrm>
            <a:off x="457200" y="1527175"/>
            <a:ext cx="5499100" cy="4460875"/>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marL="246888" lvl="0" indent="-246888"/>
            <a:r>
              <a:rPr lang="en-US"/>
              <a:t>Edit Master text styles</a:t>
            </a:r>
          </a:p>
          <a:p>
            <a:pPr marL="740664" lvl="1" indent="-310896">
              <a:buSzPct val="100000"/>
            </a:pPr>
            <a:r>
              <a:rPr lang="en-US"/>
              <a:t>Second level</a:t>
            </a:r>
          </a:p>
          <a:p>
            <a:pPr marL="1179576" lvl="2" indent="-246888"/>
            <a:r>
              <a:rPr lang="en-US"/>
              <a:t>Third level</a:t>
            </a:r>
          </a:p>
          <a:p>
            <a:pPr marL="1673352" lvl="3" indent="-320040">
              <a:buSzPct val="100000"/>
            </a:pPr>
            <a:r>
              <a:rPr lang="en-US"/>
              <a:t>Fourth level</a:t>
            </a:r>
          </a:p>
          <a:p>
            <a:pPr marL="2112264" lvl="4" indent="-246888"/>
            <a:r>
              <a:rPr lang="en-US"/>
              <a:t>Fifth level</a:t>
            </a:r>
            <a:endParaRPr lang="en-US" dirty="0"/>
          </a:p>
        </p:txBody>
      </p:sp>
    </p:spTree>
    <p:extLst>
      <p:ext uri="{BB962C8B-B14F-4D97-AF65-F5344CB8AC3E}">
        <p14:creationId xmlns:p14="http://schemas.microsoft.com/office/powerpoint/2010/main" val="17675749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57200" y="1527175"/>
            <a:ext cx="5499100" cy="4460875"/>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246888" lvl="0" indent="-246888"/>
            <a:r>
              <a:rPr lang="en-US" dirty="0"/>
              <a:t>Edit Master text styles</a:t>
            </a:r>
          </a:p>
          <a:p>
            <a:pPr marL="740664" lvl="1" indent="-310896">
              <a:buSzPct val="100000"/>
            </a:pPr>
            <a:r>
              <a:rPr lang="en-US" dirty="0"/>
              <a:t>Second level</a:t>
            </a:r>
          </a:p>
          <a:p>
            <a:pPr marL="1179576" lvl="2" indent="-246888"/>
            <a:r>
              <a:rPr lang="en-US" dirty="0"/>
              <a:t>Third level</a:t>
            </a:r>
          </a:p>
          <a:p>
            <a:pPr marL="1673352" lvl="3" indent="-320040">
              <a:buSzPct val="100000"/>
            </a:pPr>
            <a:r>
              <a:rPr lang="en-US" dirty="0"/>
              <a:t>Fourth level</a:t>
            </a:r>
          </a:p>
          <a:p>
            <a:pPr marL="2112264" lvl="4" indent="-246888"/>
            <a:r>
              <a:rPr lang="en-US" dirty="0"/>
              <a:t>Fifth level</a:t>
            </a:r>
          </a:p>
        </p:txBody>
      </p:sp>
      <p:sp>
        <p:nvSpPr>
          <p:cNvPr id="8" name="Text Placeholder 7"/>
          <p:cNvSpPr>
            <a:spLocks noGrp="1"/>
          </p:cNvSpPr>
          <p:nvPr>
            <p:ph type="body" sz="quarter" idx="11"/>
          </p:nvPr>
        </p:nvSpPr>
        <p:spPr>
          <a:xfrm>
            <a:off x="6234113" y="1527175"/>
            <a:ext cx="5499100" cy="4460875"/>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246888" lvl="0" indent="-246888"/>
            <a:r>
              <a:rPr lang="en-US" dirty="0"/>
              <a:t>Edit Master text styles</a:t>
            </a:r>
          </a:p>
          <a:p>
            <a:pPr marL="740664" lvl="1" indent="-310896">
              <a:buSzPct val="100000"/>
            </a:pPr>
            <a:r>
              <a:rPr lang="en-US" dirty="0"/>
              <a:t>Second level</a:t>
            </a:r>
          </a:p>
          <a:p>
            <a:pPr marL="1179576" lvl="2" indent="-246888"/>
            <a:r>
              <a:rPr lang="en-US" dirty="0"/>
              <a:t>Third level</a:t>
            </a:r>
          </a:p>
          <a:p>
            <a:pPr marL="1673352" lvl="3" indent="-320040">
              <a:buSzPct val="100000"/>
            </a:pPr>
            <a:r>
              <a:rPr lang="en-US" dirty="0"/>
              <a:t>Fourth level</a:t>
            </a:r>
          </a:p>
          <a:p>
            <a:pPr marL="2112264" lvl="4" indent="-246888"/>
            <a:r>
              <a:rPr lang="en-US" dirty="0"/>
              <a:t>Fifth level</a:t>
            </a:r>
          </a:p>
        </p:txBody>
      </p:sp>
    </p:spTree>
    <p:extLst>
      <p:ext uri="{BB962C8B-B14F-4D97-AF65-F5344CB8AC3E}">
        <p14:creationId xmlns:p14="http://schemas.microsoft.com/office/powerpoint/2010/main" val="34386182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2" name="Text Placeholder 11"/>
          <p:cNvSpPr>
            <a:spLocks noGrp="1"/>
          </p:cNvSpPr>
          <p:nvPr>
            <p:ph type="body" sz="quarter" idx="13"/>
          </p:nvPr>
        </p:nvSpPr>
        <p:spPr>
          <a:xfrm>
            <a:off x="457201" y="2193290"/>
            <a:ext cx="5499100" cy="3794760"/>
          </a:xfrm>
        </p:spPr>
        <p:txBody>
          <a:bodyPr vert="horz" lIns="0" tIns="0" rIns="0" bIns="0" rtlCol="0">
            <a:noAutofit/>
          </a:bodyPr>
          <a:lstStyle>
            <a:lvl1pPr>
              <a:defRPr lang="en-US" sz="2400" b="1" dirty="0"/>
            </a:lvl1pPr>
            <a:lvl2pPr>
              <a:defRPr lang="en-US" dirty="0"/>
            </a:lvl2pPr>
            <a:lvl3pPr>
              <a:defRPr lang="en-US" dirty="0"/>
            </a:lvl3pPr>
            <a:lvl4pPr>
              <a:defRPr lang="en-US" dirty="0"/>
            </a:lvl4pPr>
            <a:lvl5pPr>
              <a:defRPr lang="en-US"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320040">
              <a:buChar char="–"/>
            </a:pPr>
            <a:r>
              <a:rPr lang="en-US" dirty="0"/>
              <a:t>Fifth level</a:t>
            </a:r>
          </a:p>
        </p:txBody>
      </p:sp>
      <p:sp>
        <p:nvSpPr>
          <p:cNvPr id="5" name="Text Placeholder 4"/>
          <p:cNvSpPr>
            <a:spLocks noGrp="1"/>
          </p:cNvSpPr>
          <p:nvPr>
            <p:ph type="body" sz="quarter" idx="15" hasCustomPrompt="1"/>
          </p:nvPr>
        </p:nvSpPr>
        <p:spPr bwMode="gray">
          <a:xfrm>
            <a:off x="457200" y="976313"/>
            <a:ext cx="11276013" cy="1047750"/>
          </a:xfrm>
          <a:solidFill>
            <a:srgbClr val="009AD7"/>
          </a:solidFill>
        </p:spPr>
        <p:txBody>
          <a:bodyPr lIns="137160" rIns="91440" anchor="ctr" anchorCtr="0"/>
          <a:lstStyle>
            <a:lvl1pPr marL="0" indent="0">
              <a:spcBef>
                <a:spcPts val="600"/>
              </a:spcBef>
              <a:buNone/>
              <a:defRPr sz="2400">
                <a:solidFill>
                  <a:srgbClr val="FFFFFF"/>
                </a:solidFill>
              </a:defRPr>
            </a:lvl1pPr>
          </a:lstStyle>
          <a:p>
            <a:pPr lvl="0"/>
            <a:r>
              <a:rPr lang="en-US" dirty="0"/>
              <a:t>Edit Master text styles</a:t>
            </a:r>
          </a:p>
        </p:txBody>
      </p:sp>
      <p:sp>
        <p:nvSpPr>
          <p:cNvPr id="7" name="Text Placeholder 11"/>
          <p:cNvSpPr>
            <a:spLocks noGrp="1"/>
          </p:cNvSpPr>
          <p:nvPr>
            <p:ph type="body" sz="quarter" idx="16"/>
          </p:nvPr>
        </p:nvSpPr>
        <p:spPr>
          <a:xfrm>
            <a:off x="6234113" y="2193290"/>
            <a:ext cx="5499100" cy="3794760"/>
          </a:xfrm>
        </p:spPr>
        <p:txBody>
          <a:bodyPr vert="horz" lIns="0" tIns="0" rIns="0" bIns="0" rtlCol="0">
            <a:noAutofit/>
          </a:bodyPr>
          <a:lstStyle>
            <a:lvl1pPr>
              <a:defRPr lang="en-US" sz="2400" b="1" dirty="0"/>
            </a:lvl1pPr>
            <a:lvl2pPr>
              <a:defRPr lang="en-US" dirty="0"/>
            </a:lvl2pPr>
            <a:lvl3pPr>
              <a:defRPr lang="en-US" dirty="0"/>
            </a:lvl3pPr>
            <a:lvl4pPr>
              <a:defRPr lang="en-US" dirty="0"/>
            </a:lvl4pPr>
            <a:lvl5pPr>
              <a:defRPr lang="en-US"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320040">
              <a:buChar char="–"/>
            </a:pPr>
            <a:r>
              <a:rPr lang="en-US" dirty="0"/>
              <a:t>Fifth level</a:t>
            </a:r>
          </a:p>
        </p:txBody>
      </p:sp>
    </p:spTree>
    <p:extLst>
      <p:ext uri="{BB962C8B-B14F-4D97-AF65-F5344CB8AC3E}">
        <p14:creationId xmlns:p14="http://schemas.microsoft.com/office/powerpoint/2010/main" val="32183477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p:txBody>
          <a:bodyPr/>
          <a:lstStyle>
            <a:lvl1pPr>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11"/>
          <p:cNvSpPr>
            <a:spLocks noGrp="1"/>
          </p:cNvSpPr>
          <p:nvPr>
            <p:ph type="body" sz="quarter" idx="13"/>
          </p:nvPr>
        </p:nvSpPr>
        <p:spPr>
          <a:xfrm>
            <a:off x="457201" y="1527175"/>
            <a:ext cx="11276012" cy="4460875"/>
          </a:xfrm>
        </p:spPr>
        <p:txBody>
          <a:bodyPr vert="horz" lIns="0" tIns="0" rIns="0" bIns="0" rtlCol="0">
            <a:noAutofit/>
          </a:bodyPr>
          <a:lstStyle>
            <a:lvl1pPr>
              <a:defRPr lang="en-US" b="1" dirty="0"/>
            </a:lvl1pPr>
            <a:lvl2pPr>
              <a:defRPr lang="en-US" dirty="0"/>
            </a:lvl2pPr>
            <a:lvl3pPr>
              <a:defRPr lang="en-US" dirty="0"/>
            </a:lvl3pPr>
            <a:lvl4pPr>
              <a:defRPr lang="en-US" dirty="0"/>
            </a:lvl4pPr>
            <a:lvl5pPr>
              <a:defRPr lang="en-US" dirty="0"/>
            </a:lvl5pPr>
          </a:lstStyle>
          <a:p>
            <a:pPr marL="0" lvl="0" indent="0">
              <a:buNone/>
            </a:pPr>
            <a:r>
              <a:rPr lang="en-US" dirty="0"/>
              <a:t>Click to edit Master text styles</a:t>
            </a:r>
          </a:p>
          <a:p>
            <a:pPr marL="457200" lvl="1" indent="-246888">
              <a:buClrTx/>
              <a:buSzPct val="100000"/>
              <a:buChar char="•"/>
            </a:pPr>
            <a:r>
              <a:rPr lang="en-US" dirty="0"/>
              <a:t>Second level</a:t>
            </a:r>
          </a:p>
          <a:p>
            <a:pPr marL="932688" lvl="2" indent="-310896">
              <a:buChar char="–"/>
            </a:pPr>
            <a:r>
              <a:rPr lang="en-US" dirty="0"/>
              <a:t>Third level</a:t>
            </a:r>
          </a:p>
          <a:p>
            <a:pPr marL="1371600" lvl="3" indent="-246888">
              <a:buSzPct val="100000"/>
              <a:buChar char="•"/>
            </a:pPr>
            <a:r>
              <a:rPr lang="en-US" dirty="0"/>
              <a:t>Fourth level</a:t>
            </a:r>
          </a:p>
          <a:p>
            <a:pPr marL="1874520" lvl="4" indent="-320040">
              <a:buChar char="–"/>
            </a:pPr>
            <a:r>
              <a:rPr lang="en-US" dirty="0"/>
              <a:t>Fifth level</a:t>
            </a:r>
          </a:p>
        </p:txBody>
      </p:sp>
    </p:spTree>
    <p:extLst>
      <p:ext uri="{BB962C8B-B14F-4D97-AF65-F5344CB8AC3E}">
        <p14:creationId xmlns:p14="http://schemas.microsoft.com/office/powerpoint/2010/main" val="11288564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p:nvPr>
        </p:nvSpPr>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950976" indent="-310896">
              <a:defRPr/>
            </a:lvl2pPr>
            <a:lvl3pPr marL="1389888" indent="-246888">
              <a:defRPr/>
            </a:lvl3pPr>
            <a:lvl4pPr marL="1883664" indent="-320040">
              <a:defRPr/>
            </a:lvl4pPr>
            <a:lvl5pPr marL="2322576" indent="-246888">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01962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1527175"/>
            <a:ext cx="11276012" cy="4460875"/>
          </a:xfrm>
        </p:spPr>
        <p:txBody>
          <a:bodyPr vert="horz" lIns="0" tIns="0" rIns="0" bIns="0" rtlCol="0">
            <a:noAutofit/>
          </a:bodyPr>
          <a:lstStyle>
            <a:lvl1pPr>
              <a:defRPr lang="en-US" b="1" dirty="0"/>
            </a:lvl1pPr>
            <a:lvl2pPr>
              <a:defRPr lang="en-US" dirty="0"/>
            </a:lvl2pPr>
            <a:lvl3pPr>
              <a:defRPr lang="en-US" dirty="0"/>
            </a:lvl3pPr>
            <a:lvl4pPr>
              <a:defRPr lang="en-US" dirty="0"/>
            </a:lvl4pPr>
            <a:lvl5pPr>
              <a:defRPr lang="en-US" dirty="0"/>
            </a:lvl5pPr>
          </a:lstStyle>
          <a:p>
            <a:pPr marL="0" lvl="0" indent="0">
              <a:buNone/>
            </a:pPr>
            <a:r>
              <a:rPr lang="en-US" dirty="0"/>
              <a:t>Edit Master text styles</a:t>
            </a:r>
          </a:p>
          <a:p>
            <a:pPr marL="457200" lvl="1" indent="-246888">
              <a:buClrTx/>
              <a:buSzPct val="100000"/>
              <a:buChar char="•"/>
            </a:pPr>
            <a:r>
              <a:rPr lang="en-US" dirty="0"/>
              <a:t>Second level</a:t>
            </a:r>
          </a:p>
          <a:p>
            <a:pPr marL="932688" lvl="2" indent="-310896">
              <a:buChar char="–"/>
            </a:pPr>
            <a:r>
              <a:rPr lang="en-US" dirty="0"/>
              <a:t>Third level</a:t>
            </a:r>
          </a:p>
          <a:p>
            <a:pPr marL="1371600" lvl="3" indent="-246888">
              <a:buSzPct val="100000"/>
              <a:buChar char="•"/>
            </a:pPr>
            <a:r>
              <a:rPr lang="en-US" dirty="0"/>
              <a:t>Fourth level</a:t>
            </a:r>
          </a:p>
          <a:p>
            <a:pPr marL="1874520" lvl="4" indent="-320040">
              <a:buChar char="–"/>
            </a:pPr>
            <a:r>
              <a:rPr lang="en-US" dirty="0"/>
              <a:t>Fifth level</a:t>
            </a:r>
          </a:p>
        </p:txBody>
      </p:sp>
    </p:spTree>
    <p:extLst>
      <p:ext uri="{BB962C8B-B14F-4D97-AF65-F5344CB8AC3E}">
        <p14:creationId xmlns:p14="http://schemas.microsoft.com/office/powerpoint/2010/main" val="10252938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32512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marL="246888" lvl="0" indent="-246888"/>
            <a:r>
              <a:rPr lang="en-US" dirty="0"/>
              <a:t>Edit Master text styles</a:t>
            </a:r>
          </a:p>
          <a:p>
            <a:pPr marL="740664" lvl="1" indent="-310896">
              <a:buSzPct val="100000"/>
            </a:pPr>
            <a:r>
              <a:rPr lang="en-US" dirty="0"/>
              <a:t>Second level</a:t>
            </a:r>
          </a:p>
          <a:p>
            <a:pPr marL="1179576" lvl="2" indent="-246888"/>
            <a:r>
              <a:rPr lang="en-US" dirty="0"/>
              <a:t>Third level</a:t>
            </a:r>
          </a:p>
          <a:p>
            <a:pPr marL="1673352" lvl="3" indent="-320040">
              <a:buSzPct val="100000"/>
            </a:pPr>
            <a:r>
              <a:rPr lang="en-US" dirty="0"/>
              <a:t>Fourth level</a:t>
            </a:r>
          </a:p>
          <a:p>
            <a:pPr marL="2112264" lvl="4" indent="-246888"/>
            <a:r>
              <a:rPr lang="en-US" dirty="0"/>
              <a:t>Fifth level</a:t>
            </a:r>
          </a:p>
        </p:txBody>
      </p:sp>
      <p:sp>
        <p:nvSpPr>
          <p:cNvPr id="5" name="Text Placeholder 6"/>
          <p:cNvSpPr>
            <a:spLocks noGrp="1"/>
          </p:cNvSpPr>
          <p:nvPr>
            <p:ph type="body" sz="quarter" idx="11"/>
          </p:nvPr>
        </p:nvSpPr>
        <p:spPr>
          <a:xfrm>
            <a:off x="457200" y="4778375"/>
            <a:ext cx="11276013" cy="1209675"/>
          </a:xfrm>
          <a:solidFill>
            <a:srgbClr val="009AD7"/>
          </a:solidFill>
        </p:spPr>
        <p:txBody>
          <a:bodyPr lIns="137160" tIns="91440" rIns="91440" bIns="91440" anchor="ctr" anchorCtr="0"/>
          <a:lstStyle>
            <a:lvl1pPr marL="0" indent="0">
              <a:spcBef>
                <a:spcPts val="600"/>
              </a:spcBef>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29813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246888">
              <a:buChar char="–"/>
            </a:pPr>
            <a:r>
              <a:rPr lang="en-US" dirty="0"/>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246888">
              <a:buChar char="–"/>
            </a:pPr>
            <a:r>
              <a:rPr lang="en-US" dirty="0"/>
              <a:t>Fifth level</a:t>
            </a:r>
          </a:p>
        </p:txBody>
      </p:sp>
      <p:sp>
        <p:nvSpPr>
          <p:cNvPr id="8" name="Text Placeholder 11">
            <a:extLst>
              <a:ext uri="{FF2B5EF4-FFF2-40B4-BE49-F238E27FC236}">
                <a16:creationId xmlns:a16="http://schemas.microsoft.com/office/drawing/2014/main" id="{49681552-8EBF-4EC3-B323-EF2A28386B98}"/>
              </a:ext>
            </a:extLst>
          </p:cNvPr>
          <p:cNvSpPr>
            <a:spLocks noGrp="1"/>
          </p:cNvSpPr>
          <p:nvPr>
            <p:ph type="body" sz="quarter" idx="17"/>
          </p:nvPr>
        </p:nvSpPr>
        <p:spPr>
          <a:xfrm>
            <a:off x="8396288" y="1527175"/>
            <a:ext cx="3336925" cy="4460875"/>
          </a:xfrm>
        </p:spPr>
        <p:txBody>
          <a:bodyPr vert="horz" lIns="0" tIns="0" rIns="0" bIns="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246888">
              <a:buChar char="–"/>
            </a:pPr>
            <a:r>
              <a:rPr lang="en-US" dirty="0"/>
              <a:t>Fifth level</a:t>
            </a:r>
          </a:p>
        </p:txBody>
      </p:sp>
    </p:spTree>
    <p:extLst>
      <p:ext uri="{BB962C8B-B14F-4D97-AF65-F5344CB8AC3E}">
        <p14:creationId xmlns:p14="http://schemas.microsoft.com/office/powerpoint/2010/main" val="32618175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6" name="Text Placeholder 11"/>
          <p:cNvSpPr>
            <a:spLocks noGrp="1"/>
          </p:cNvSpPr>
          <p:nvPr>
            <p:ph type="body" sz="quarter" idx="16" hasCustomPrompt="1"/>
          </p:nvPr>
        </p:nvSpPr>
        <p:spPr bwMode="invGray">
          <a:xfrm>
            <a:off x="4424193" y="1527175"/>
            <a:ext cx="3336925" cy="4460875"/>
          </a:xfrm>
          <a:solidFill>
            <a:srgbClr val="355578"/>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320040">
              <a:buChar char="–"/>
            </a:pPr>
            <a:r>
              <a:rPr lang="en-US" dirty="0"/>
              <a:t>Fifth level</a:t>
            </a:r>
          </a:p>
        </p:txBody>
      </p:sp>
      <p:sp>
        <p:nvSpPr>
          <p:cNvPr id="2" name="Title 1"/>
          <p:cNvSpPr>
            <a:spLocks noGrp="1"/>
          </p:cNvSpPr>
          <p:nvPr>
            <p:ph type="title"/>
          </p:nvPr>
        </p:nvSpPr>
        <p:spPr>
          <a:xfrm>
            <a:off x="457200" y="366713"/>
            <a:ext cx="11276013" cy="443198"/>
          </a:xfrm>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bwMode="invGray">
          <a:xfrm>
            <a:off x="457200" y="1527175"/>
            <a:ext cx="3336925" cy="4460875"/>
          </a:xfrm>
          <a:solidFill>
            <a:srgbClr val="355578"/>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320040">
              <a:buChar char="–"/>
            </a:pPr>
            <a:r>
              <a:rPr lang="en-US" dirty="0"/>
              <a:t>Fifth level</a:t>
            </a:r>
          </a:p>
        </p:txBody>
      </p:sp>
      <p:sp>
        <p:nvSpPr>
          <p:cNvPr id="8" name="Text Placeholder 11">
            <a:extLst>
              <a:ext uri="{FF2B5EF4-FFF2-40B4-BE49-F238E27FC236}">
                <a16:creationId xmlns:a16="http://schemas.microsoft.com/office/drawing/2014/main" id="{4386A93C-4A1E-4D7D-8056-21E3069C963B}"/>
              </a:ext>
            </a:extLst>
          </p:cNvPr>
          <p:cNvSpPr>
            <a:spLocks noGrp="1"/>
          </p:cNvSpPr>
          <p:nvPr>
            <p:ph type="body" sz="quarter" idx="17" hasCustomPrompt="1"/>
          </p:nvPr>
        </p:nvSpPr>
        <p:spPr bwMode="invGray">
          <a:xfrm>
            <a:off x="8396288" y="1527175"/>
            <a:ext cx="3336925" cy="4460875"/>
          </a:xfrm>
          <a:solidFill>
            <a:srgbClr val="355578"/>
          </a:solidFill>
        </p:spPr>
        <p:txBody>
          <a:bodyPr vert="horz" lIns="182880" tIns="182880" rIns="91440" bIns="182880" rtlCol="0">
            <a:noAutofit/>
          </a:bodyPr>
          <a:lstStyle>
            <a:lvl1pPr>
              <a:defRPr lang="en-US" sz="2000" b="1" dirty="0"/>
            </a:lvl1pPr>
            <a:lvl2pPr>
              <a:defRPr lang="en-US" sz="2000" dirty="0"/>
            </a:lvl2pPr>
            <a:lvl3pPr>
              <a:defRPr lang="en-US" sz="2000" dirty="0"/>
            </a:lvl3pPr>
            <a:lvl4pPr>
              <a:defRPr lang="en-US" sz="2000" dirty="0"/>
            </a:lvl4pPr>
            <a:lvl5pPr>
              <a:defRPr lang="en-US" sz="2000" dirty="0"/>
            </a:lvl5pPr>
          </a:lstStyle>
          <a:p>
            <a:pPr marL="0" lvl="0" indent="0">
              <a:buNone/>
            </a:pPr>
            <a:r>
              <a:rPr lang="en-US" dirty="0"/>
              <a:t>Edit Master text styles</a:t>
            </a:r>
          </a:p>
          <a:p>
            <a:pPr marL="246888" lvl="1" indent="-246888">
              <a:buClrTx/>
              <a:buSzPct val="100000"/>
              <a:buChar char="•"/>
            </a:pPr>
            <a:r>
              <a:rPr lang="en-US" dirty="0"/>
              <a:t>Second level</a:t>
            </a:r>
          </a:p>
          <a:p>
            <a:pPr marL="740664" lvl="2" indent="-310896">
              <a:buChar char="–"/>
            </a:pPr>
            <a:r>
              <a:rPr lang="en-US" dirty="0"/>
              <a:t>Third level</a:t>
            </a:r>
          </a:p>
          <a:p>
            <a:pPr marL="1179576" lvl="3" indent="-246888">
              <a:buSzPct val="100000"/>
              <a:buChar char="•"/>
            </a:pPr>
            <a:r>
              <a:rPr lang="en-US" dirty="0"/>
              <a:t>Fourth level</a:t>
            </a:r>
          </a:p>
          <a:p>
            <a:pPr marL="1673352" lvl="4" indent="-320040">
              <a:buChar char="–"/>
            </a:pPr>
            <a:r>
              <a:rPr lang="en-US" dirty="0"/>
              <a:t>Fifth level</a:t>
            </a:r>
          </a:p>
        </p:txBody>
      </p:sp>
    </p:spTree>
    <p:extLst>
      <p:ext uri="{BB962C8B-B14F-4D97-AF65-F5344CB8AC3E}">
        <p14:creationId xmlns:p14="http://schemas.microsoft.com/office/powerpoint/2010/main" val="1139589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dirty="0"/>
              <a:t>Title Center Layout</a:t>
            </a:r>
          </a:p>
        </p:txBody>
      </p:sp>
    </p:spTree>
    <p:extLst>
      <p:ext uri="{BB962C8B-B14F-4D97-AF65-F5344CB8AC3E}">
        <p14:creationId xmlns:p14="http://schemas.microsoft.com/office/powerpoint/2010/main" val="19610544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op w 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F96C7-DA47-4432-8469-F8EF70ADFA3C}"/>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DF1984C1-A142-A5B3-40FF-9DCEB13526F5}"/>
              </a:ext>
            </a:extLst>
          </p:cNvPr>
          <p:cNvSpPr>
            <a:spLocks noGrp="1"/>
          </p:cNvSpPr>
          <p:nvPr>
            <p:ph type="body" sz="quarter" idx="10"/>
          </p:nvPr>
        </p:nvSpPr>
        <p:spPr>
          <a:xfrm>
            <a:off x="457200" y="3152001"/>
            <a:ext cx="11276013" cy="553998"/>
          </a:xfrm>
        </p:spPr>
        <p:txBody>
          <a:bodyPr anchor="ctr" anchorCtr="0">
            <a:spAutoFit/>
          </a:bodyPr>
          <a:lstStyle>
            <a:lvl1pPr marL="0" indent="0" algn="ctr">
              <a:buFont typeface="Arial" panose="020B0604020202020204" pitchFamily="34" charset="0"/>
              <a:buChar char="​"/>
              <a:defRPr sz="4000">
                <a:solidFill>
                  <a:schemeClr val="tx2"/>
                </a:solidFill>
                <a:latin typeface="+mj-lt"/>
              </a:defRPr>
            </a:lvl1pPr>
            <a:lvl2pPr marL="0" indent="0" algn="ctr">
              <a:buFont typeface="Arial" panose="020B0604020202020204" pitchFamily="34" charset="0"/>
              <a:buChar char="​"/>
              <a:defRPr/>
            </a:lvl2pPr>
            <a:lvl3pPr marL="0" indent="0" algn="ctr">
              <a:buFont typeface="Arial" panose="020B0604020202020204" pitchFamily="34" charset="0"/>
              <a:buChar char="​"/>
              <a:defRPr/>
            </a:lvl3pPr>
            <a:lvl4pPr marL="0" indent="0" algn="ctr">
              <a:buFont typeface="Arial" panose="020B0604020202020204" pitchFamily="34" charset="0"/>
              <a:buChar char="​"/>
              <a:defRPr/>
            </a:lvl4pPr>
            <a:lvl5pPr marL="0" indent="0" algn="ctr">
              <a:buFont typeface="Arial" panose="020B0604020202020204" pitchFamily="34" charset="0"/>
              <a:buChar char="​"/>
              <a:defRPr/>
            </a:lvl5pPr>
          </a:lstStyle>
          <a:p>
            <a:pPr lvl="0"/>
            <a:r>
              <a:rPr lang="en-US" dirty="0"/>
              <a:t>Click to edit Master text styles</a:t>
            </a:r>
          </a:p>
        </p:txBody>
      </p:sp>
    </p:spTree>
    <p:extLst>
      <p:ext uri="{BB962C8B-B14F-4D97-AF65-F5344CB8AC3E}">
        <p14:creationId xmlns:p14="http://schemas.microsoft.com/office/powerpoint/2010/main" val="12187766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hasCustomPrompt="1"/>
          </p:nvPr>
        </p:nvSpPr>
        <p:spPr>
          <a:xfrm>
            <a:off x="2055247" y="1527176"/>
            <a:ext cx="4906765" cy="2937249"/>
          </a:xfrm>
        </p:spPr>
        <p:txBody>
          <a:bodyPr vert="horz" lIns="0" tIns="0" rIns="0" bIns="0" rtlCol="0" anchor="ctr">
            <a:noAutofit/>
          </a:bodyPr>
          <a:lstStyle>
            <a:lvl1pPr>
              <a:lnSpc>
                <a:spcPct val="100000"/>
              </a:lnSpc>
              <a:spcBef>
                <a:spcPts val="0"/>
              </a:spcBef>
              <a:buClr>
                <a:schemeClr val="tx1"/>
              </a:buClr>
              <a:buSzPct val="90000"/>
              <a:buFont typeface="Wingdings" panose="05000000000000000000" pitchFamily="2" charset="2"/>
              <a:buNone/>
              <a:defRPr lang="en-US" sz="3200" b="1">
                <a:solidFill>
                  <a:schemeClr val="tx2"/>
                </a:solidFill>
                <a:latin typeface="Arial Black" panose="020B0A04020102020204" pitchFamily="34" charset="0"/>
                <a:ea typeface="+mn-ea"/>
                <a:cs typeface="Arial Black" panose="020B0A04020102020204" pitchFamily="34" charset="0"/>
              </a:defRPr>
            </a:lvl1pPr>
          </a:lstStyle>
          <a:p>
            <a:pPr lvl="0">
              <a:spcBef>
                <a:spcPts val="0"/>
              </a:spcBef>
              <a:buClr>
                <a:schemeClr val="tx1"/>
              </a:buClr>
              <a:buSzPct val="90000"/>
              <a:buFont typeface="Wingdings" panose="05000000000000000000" pitchFamily="2" charset="2"/>
              <a:buNone/>
            </a:pPr>
            <a:r>
              <a:rPr lang="en-US" dirty="0"/>
              <a:t>Divider Slide</a:t>
            </a:r>
            <a:br>
              <a:rPr lang="en-US" dirty="0"/>
            </a:br>
            <a:r>
              <a:rPr lang="en-US" dirty="0"/>
              <a:t>30 Characters</a:t>
            </a:r>
            <a:br>
              <a:rPr lang="en-US" dirty="0"/>
            </a:br>
            <a:r>
              <a:rPr lang="en-US" dirty="0"/>
              <a:t>Lorem Ipsum</a:t>
            </a:r>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1227172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740954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p:txBody>
          <a:bodyPr/>
          <a:lstStyle>
            <a:lvl1pPr marL="365760" indent="-365760">
              <a:buFont typeface="+mj-lt"/>
              <a:buAutoNum type="arabicPeriod"/>
              <a:defRPr/>
            </a:lvl1pPr>
            <a:lvl2pPr marL="859536">
              <a:defRPr/>
            </a:lvl2pPr>
            <a:lvl3pPr marL="1298448" indent="-246888">
              <a:defRPr/>
            </a:lvl3pPr>
            <a:lvl4pPr marL="1792224" indent="-320040">
              <a:defRPr/>
            </a:lvl4pPr>
            <a:lvl5pPr marL="2231136">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95224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_Tangerin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7840615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8560693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_Surf">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3983251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1009268"/>
            <a:ext cx="6060141" cy="4476115"/>
          </a:xfrm>
        </p:spPr>
        <p:txBody>
          <a:bodyPr anchor="ctr" anchorCtr="0"/>
          <a:lstStyle>
            <a:lvl1pPr marL="0" indent="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457200" y="5485384"/>
            <a:ext cx="6060141"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3767001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_larg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457199" y="1009268"/>
            <a:ext cx="8366761" cy="4476115"/>
          </a:xfrm>
        </p:spPr>
        <p:txBody>
          <a:bodyPr anchor="ctr" anchorCtr="0"/>
          <a:lstStyle>
            <a:lvl1pPr marL="0" indent="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457199" y="5485384"/>
            <a:ext cx="8366761"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8110294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23060480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523122618"/>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_Quote_Tangerin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lgn="l">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973558146"/>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_Quote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883659131"/>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_Quote_Surf">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0" indent="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marL="0" indent="0">
              <a:buNone/>
              <a:defRPr lang="en-US" sz="1600" dirty="0"/>
            </a:lvl1pPr>
          </a:lstStyle>
          <a:p>
            <a:pPr marL="274320" lvl="0" indent="-274320"/>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rgbClr val="06C4B0"/>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26248369"/>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hasCustomPrompt="1"/>
          </p:nvPr>
        </p:nvSpPr>
        <p:spPr/>
        <p:txBody>
          <a:bodyPr/>
          <a:lstStyle>
            <a:lvl1pPr marL="365760" indent="-365760">
              <a:buClrTx/>
              <a:buFont typeface="+mj-lt"/>
              <a:buAutoNum type="arabicPeriod"/>
              <a:defRPr>
                <a:solidFill>
                  <a:srgbClr val="979D9D"/>
                </a:solidFill>
              </a:defRPr>
            </a:lvl1pPr>
            <a:lvl2pPr marL="859536">
              <a:buClr>
                <a:srgbClr val="979D9D"/>
              </a:buClr>
              <a:defRPr>
                <a:solidFill>
                  <a:srgbClr val="979D9D"/>
                </a:solidFill>
              </a:defRPr>
            </a:lvl2pPr>
            <a:lvl3pPr marL="1298448">
              <a:buClr>
                <a:srgbClr val="979D9D"/>
              </a:buClr>
              <a:defRPr>
                <a:solidFill>
                  <a:srgbClr val="979D9D"/>
                </a:solidFill>
              </a:defRPr>
            </a:lvl3pPr>
            <a:lvl4pPr marL="1792224">
              <a:buClr>
                <a:srgbClr val="979D9D"/>
              </a:buClr>
              <a:defRPr>
                <a:solidFill>
                  <a:srgbClr val="979D9D"/>
                </a:solidFill>
              </a:defRPr>
            </a:lvl4pPr>
            <a:lvl5pPr marL="2231136">
              <a:buClr>
                <a:srgbClr val="979D9D"/>
              </a:buClr>
              <a:defRPr>
                <a:solidFill>
                  <a:srgbClr val="979D9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76111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Issue - Takeaway1">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8578134-C757-4EB6-8CBA-C93029B5AF5B}"/>
              </a:ext>
            </a:extLst>
          </p:cNvPr>
          <p:cNvSpPr txBox="1"/>
          <p:nvPr userDrawn="1"/>
        </p:nvSpPr>
        <p:spPr>
          <a:xfrm>
            <a:off x="1066135" y="1999536"/>
            <a:ext cx="9373265" cy="646331"/>
          </a:xfrm>
          <a:prstGeom prst="rect">
            <a:avLst/>
          </a:prstGeom>
          <a:noFill/>
        </p:spPr>
        <p:txBody>
          <a:bodyPr wrap="square" lIns="0" rtlCol="0">
            <a:spAutoFit/>
          </a:bodyPr>
          <a:lstStyle/>
          <a:p>
            <a:r>
              <a:rPr lang="en-US" sz="3600" dirty="0">
                <a:solidFill>
                  <a:srgbClr val="FF540A"/>
                </a:solidFill>
                <a:latin typeface="Arial Black" panose="020B0A04020102020204" pitchFamily="34" charset="0"/>
              </a:rPr>
              <a:t>Key Issue Take-Away:</a:t>
            </a:r>
          </a:p>
        </p:txBody>
      </p:sp>
      <p:sp>
        <p:nvSpPr>
          <p:cNvPr id="5" name="Text Placeholder 4">
            <a:extLst>
              <a:ext uri="{FF2B5EF4-FFF2-40B4-BE49-F238E27FC236}">
                <a16:creationId xmlns:a16="http://schemas.microsoft.com/office/drawing/2014/main" id="{9895260A-4283-47C2-8FAF-88F622DA4B99}"/>
              </a:ext>
            </a:extLst>
          </p:cNvPr>
          <p:cNvSpPr>
            <a:spLocks noGrp="1"/>
          </p:cNvSpPr>
          <p:nvPr>
            <p:ph type="body" sz="quarter" idx="10"/>
          </p:nvPr>
        </p:nvSpPr>
        <p:spPr>
          <a:xfrm>
            <a:off x="1061884" y="2664747"/>
            <a:ext cx="9377516" cy="1927225"/>
          </a:xfrm>
        </p:spPr>
        <p:txBody>
          <a:bodyPr/>
          <a:lstStyle>
            <a:lvl1pPr marL="0" indent="0">
              <a:buNone/>
              <a:defRPr sz="3600"/>
            </a:lvl1pPr>
            <a:lvl2pPr marL="365760" indent="0">
              <a:buNone/>
              <a:defRPr sz="3200"/>
            </a:lvl2pPr>
            <a:lvl3pPr marL="685800" indent="0">
              <a:buNone/>
              <a:defRPr sz="3200"/>
            </a:lvl3pPr>
            <a:lvl4pPr marL="1005840" indent="0">
              <a:buNone/>
              <a:defRPr sz="3200"/>
            </a:lvl4pPr>
            <a:lvl5pPr marL="1325880" indent="0">
              <a:buNone/>
              <a:defRPr sz="3200"/>
            </a:lvl5pPr>
          </a:lstStyle>
          <a:p>
            <a:pPr lvl="0"/>
            <a:r>
              <a:rPr lang="en-US" dirty="0"/>
              <a:t>Click to edit Master text styles</a:t>
            </a:r>
          </a:p>
        </p:txBody>
      </p:sp>
    </p:spTree>
    <p:extLst>
      <p:ext uri="{BB962C8B-B14F-4D97-AF65-F5344CB8AC3E}">
        <p14:creationId xmlns:p14="http://schemas.microsoft.com/office/powerpoint/2010/main" val="334022931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ey Issue - Takeaway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1994219" y="2508937"/>
            <a:ext cx="8445181" cy="443198"/>
          </a:xfrm>
        </p:spPr>
        <p:txBody>
          <a:bodyPr anchor="t" anchorCtr="0"/>
          <a:lstStyle>
            <a:lvl1pPr algn="l">
              <a:defRPr sz="3600">
                <a:solidFill>
                  <a:schemeClr val="tx2"/>
                </a:solidFill>
              </a:defRPr>
            </a:lvl1pPr>
          </a:lstStyle>
          <a:p>
            <a:r>
              <a:rPr lang="en-US" dirty="0"/>
              <a:t>Title Center Layout</a:t>
            </a:r>
          </a:p>
        </p:txBody>
      </p:sp>
      <p:sp>
        <p:nvSpPr>
          <p:cNvPr id="4" name="Graphic 4">
            <a:extLst>
              <a:ext uri="{FF2B5EF4-FFF2-40B4-BE49-F238E27FC236}">
                <a16:creationId xmlns:a16="http://schemas.microsoft.com/office/drawing/2014/main" id="{A03498A7-9B95-42BE-BF8D-3D7D59C7CBB6}"/>
              </a:ext>
            </a:extLst>
          </p:cNvPr>
          <p:cNvSpPr/>
          <p:nvPr userDrawn="1"/>
        </p:nvSpPr>
        <p:spPr>
          <a:xfrm>
            <a:off x="1100356" y="2418736"/>
            <a:ext cx="623600" cy="623600"/>
          </a:xfrm>
          <a:custGeom>
            <a:avLst/>
            <a:gdLst>
              <a:gd name="connsiteX0" fmla="*/ 266700 w 533400"/>
              <a:gd name="connsiteY0" fmla="*/ 0 h 533400"/>
              <a:gd name="connsiteX1" fmla="*/ 0 w 533400"/>
              <a:gd name="connsiteY1" fmla="*/ 266700 h 533400"/>
              <a:gd name="connsiteX2" fmla="*/ 266700 w 533400"/>
              <a:gd name="connsiteY2" fmla="*/ 533400 h 533400"/>
              <a:gd name="connsiteX3" fmla="*/ 533400 w 533400"/>
              <a:gd name="connsiteY3" fmla="*/ 266700 h 533400"/>
              <a:gd name="connsiteX4" fmla="*/ 266700 w 533400"/>
              <a:gd name="connsiteY4" fmla="*/ 0 h 533400"/>
              <a:gd name="connsiteX5" fmla="*/ 266700 w 533400"/>
              <a:gd name="connsiteY5" fmla="*/ 495300 h 533400"/>
              <a:gd name="connsiteX6" fmla="*/ 38100 w 533400"/>
              <a:gd name="connsiteY6" fmla="*/ 266700 h 533400"/>
              <a:gd name="connsiteX7" fmla="*/ 266700 w 533400"/>
              <a:gd name="connsiteY7" fmla="*/ 38100 h 533400"/>
              <a:gd name="connsiteX8" fmla="*/ 495300 w 533400"/>
              <a:gd name="connsiteY8" fmla="*/ 266700 h 533400"/>
              <a:gd name="connsiteX9" fmla="*/ 266700 w 533400"/>
              <a:gd name="connsiteY9" fmla="*/ 495300 h 533400"/>
              <a:gd name="connsiteX10" fmla="*/ 285750 w 533400"/>
              <a:gd name="connsiteY10" fmla="*/ 100013 h 533400"/>
              <a:gd name="connsiteX11" fmla="*/ 247650 w 533400"/>
              <a:gd name="connsiteY11" fmla="*/ 100013 h 533400"/>
              <a:gd name="connsiteX12" fmla="*/ 247650 w 533400"/>
              <a:gd name="connsiteY12" fmla="*/ 61913 h 533400"/>
              <a:gd name="connsiteX13" fmla="*/ 285750 w 533400"/>
              <a:gd name="connsiteY13" fmla="*/ 61913 h 533400"/>
              <a:gd name="connsiteX14" fmla="*/ 285750 w 533400"/>
              <a:gd name="connsiteY14" fmla="*/ 100013 h 533400"/>
              <a:gd name="connsiteX15" fmla="*/ 247650 w 533400"/>
              <a:gd name="connsiteY15" fmla="*/ 433388 h 533400"/>
              <a:gd name="connsiteX16" fmla="*/ 285750 w 533400"/>
              <a:gd name="connsiteY16" fmla="*/ 433388 h 533400"/>
              <a:gd name="connsiteX17" fmla="*/ 285750 w 533400"/>
              <a:gd name="connsiteY17" fmla="*/ 471488 h 533400"/>
              <a:gd name="connsiteX18" fmla="*/ 247650 w 533400"/>
              <a:gd name="connsiteY18" fmla="*/ 471488 h 533400"/>
              <a:gd name="connsiteX19" fmla="*/ 247650 w 533400"/>
              <a:gd name="connsiteY19" fmla="*/ 433388 h 533400"/>
              <a:gd name="connsiteX20" fmla="*/ 61913 w 533400"/>
              <a:gd name="connsiteY20" fmla="*/ 247650 h 533400"/>
              <a:gd name="connsiteX21" fmla="*/ 100013 w 533400"/>
              <a:gd name="connsiteY21" fmla="*/ 247650 h 533400"/>
              <a:gd name="connsiteX22" fmla="*/ 100013 w 533400"/>
              <a:gd name="connsiteY22" fmla="*/ 285750 h 533400"/>
              <a:gd name="connsiteX23" fmla="*/ 61913 w 533400"/>
              <a:gd name="connsiteY23" fmla="*/ 285750 h 533400"/>
              <a:gd name="connsiteX24" fmla="*/ 61913 w 533400"/>
              <a:gd name="connsiteY24" fmla="*/ 247650 h 533400"/>
              <a:gd name="connsiteX25" fmla="*/ 471488 w 533400"/>
              <a:gd name="connsiteY25" fmla="*/ 247650 h 533400"/>
              <a:gd name="connsiteX26" fmla="*/ 471488 w 533400"/>
              <a:gd name="connsiteY26" fmla="*/ 285750 h 533400"/>
              <a:gd name="connsiteX27" fmla="*/ 433388 w 533400"/>
              <a:gd name="connsiteY27" fmla="*/ 285750 h 533400"/>
              <a:gd name="connsiteX28" fmla="*/ 433388 w 533400"/>
              <a:gd name="connsiteY28" fmla="*/ 247650 h 533400"/>
              <a:gd name="connsiteX29" fmla="*/ 471488 w 533400"/>
              <a:gd name="connsiteY29" fmla="*/ 247650 h 533400"/>
              <a:gd name="connsiteX30" fmla="*/ 138113 w 533400"/>
              <a:gd name="connsiteY30" fmla="*/ 390525 h 533400"/>
              <a:gd name="connsiteX31" fmla="*/ 319088 w 533400"/>
              <a:gd name="connsiteY31" fmla="*/ 314325 h 533400"/>
              <a:gd name="connsiteX32" fmla="*/ 395288 w 533400"/>
              <a:gd name="connsiteY32" fmla="*/ 133350 h 533400"/>
              <a:gd name="connsiteX33" fmla="*/ 214313 w 533400"/>
              <a:gd name="connsiteY33" fmla="*/ 209550 h 533400"/>
              <a:gd name="connsiteX34" fmla="*/ 138113 w 533400"/>
              <a:gd name="connsiteY34" fmla="*/ 390525 h 533400"/>
              <a:gd name="connsiteX35" fmla="*/ 323879 w 533400"/>
              <a:gd name="connsiteY35" fmla="*/ 204759 h 533400"/>
              <a:gd name="connsiteX36" fmla="*/ 289989 w 533400"/>
              <a:gd name="connsiteY36" fmla="*/ 285236 h 533400"/>
              <a:gd name="connsiteX37" fmla="*/ 209512 w 533400"/>
              <a:gd name="connsiteY37" fmla="*/ 319126 h 533400"/>
              <a:gd name="connsiteX38" fmla="*/ 243402 w 533400"/>
              <a:gd name="connsiteY38" fmla="*/ 238649 h 533400"/>
              <a:gd name="connsiteX39" fmla="*/ 323879 w 533400"/>
              <a:gd name="connsiteY39" fmla="*/ 204759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533400">
                <a:moveTo>
                  <a:pt x="266700" y="0"/>
                </a:moveTo>
                <a:cubicBezTo>
                  <a:pt x="119405" y="0"/>
                  <a:pt x="0" y="119405"/>
                  <a:pt x="0" y="266700"/>
                </a:cubicBezTo>
                <a:cubicBezTo>
                  <a:pt x="0" y="413995"/>
                  <a:pt x="119405" y="533400"/>
                  <a:pt x="266700" y="533400"/>
                </a:cubicBezTo>
                <a:cubicBezTo>
                  <a:pt x="413995" y="533400"/>
                  <a:pt x="533400" y="413995"/>
                  <a:pt x="533400" y="266700"/>
                </a:cubicBezTo>
                <a:cubicBezTo>
                  <a:pt x="533400" y="119405"/>
                  <a:pt x="413995" y="0"/>
                  <a:pt x="266700" y="0"/>
                </a:cubicBezTo>
                <a:close/>
                <a:moveTo>
                  <a:pt x="266700" y="495300"/>
                </a:moveTo>
                <a:cubicBezTo>
                  <a:pt x="140646" y="495300"/>
                  <a:pt x="38100" y="392754"/>
                  <a:pt x="38100" y="266700"/>
                </a:cubicBezTo>
                <a:cubicBezTo>
                  <a:pt x="38100" y="140646"/>
                  <a:pt x="140646" y="38100"/>
                  <a:pt x="266700" y="38100"/>
                </a:cubicBezTo>
                <a:cubicBezTo>
                  <a:pt x="392754" y="38100"/>
                  <a:pt x="495300" y="140646"/>
                  <a:pt x="495300" y="266700"/>
                </a:cubicBezTo>
                <a:cubicBezTo>
                  <a:pt x="495300" y="392754"/>
                  <a:pt x="392754" y="495300"/>
                  <a:pt x="266700" y="495300"/>
                </a:cubicBezTo>
                <a:close/>
                <a:moveTo>
                  <a:pt x="285750" y="100013"/>
                </a:moveTo>
                <a:lnTo>
                  <a:pt x="247650" y="100013"/>
                </a:lnTo>
                <a:lnTo>
                  <a:pt x="247650" y="61913"/>
                </a:lnTo>
                <a:lnTo>
                  <a:pt x="285750" y="61913"/>
                </a:lnTo>
                <a:lnTo>
                  <a:pt x="285750" y="100013"/>
                </a:lnTo>
                <a:close/>
                <a:moveTo>
                  <a:pt x="247650" y="433388"/>
                </a:moveTo>
                <a:lnTo>
                  <a:pt x="285750" y="433388"/>
                </a:lnTo>
                <a:lnTo>
                  <a:pt x="285750" y="471488"/>
                </a:lnTo>
                <a:lnTo>
                  <a:pt x="247650" y="471488"/>
                </a:lnTo>
                <a:lnTo>
                  <a:pt x="247650" y="433388"/>
                </a:lnTo>
                <a:close/>
                <a:moveTo>
                  <a:pt x="61913" y="247650"/>
                </a:moveTo>
                <a:lnTo>
                  <a:pt x="100013" y="247650"/>
                </a:lnTo>
                <a:lnTo>
                  <a:pt x="100013" y="285750"/>
                </a:lnTo>
                <a:lnTo>
                  <a:pt x="61913" y="285750"/>
                </a:lnTo>
                <a:lnTo>
                  <a:pt x="61913" y="247650"/>
                </a:lnTo>
                <a:close/>
                <a:moveTo>
                  <a:pt x="471488" y="247650"/>
                </a:moveTo>
                <a:lnTo>
                  <a:pt x="471488" y="285750"/>
                </a:lnTo>
                <a:lnTo>
                  <a:pt x="433388" y="285750"/>
                </a:lnTo>
                <a:lnTo>
                  <a:pt x="433388" y="247650"/>
                </a:lnTo>
                <a:lnTo>
                  <a:pt x="471488" y="247650"/>
                </a:lnTo>
                <a:close/>
                <a:moveTo>
                  <a:pt x="138113" y="390525"/>
                </a:moveTo>
                <a:lnTo>
                  <a:pt x="319088" y="314325"/>
                </a:lnTo>
                <a:lnTo>
                  <a:pt x="395288" y="133350"/>
                </a:lnTo>
                <a:lnTo>
                  <a:pt x="214313" y="209550"/>
                </a:lnTo>
                <a:lnTo>
                  <a:pt x="138113" y="390525"/>
                </a:lnTo>
                <a:close/>
                <a:moveTo>
                  <a:pt x="323879" y="204759"/>
                </a:moveTo>
                <a:lnTo>
                  <a:pt x="289989" y="285236"/>
                </a:lnTo>
                <a:lnTo>
                  <a:pt x="209512" y="319126"/>
                </a:lnTo>
                <a:lnTo>
                  <a:pt x="243402" y="238649"/>
                </a:lnTo>
                <a:lnTo>
                  <a:pt x="323879" y="204759"/>
                </a:lnTo>
                <a:close/>
              </a:path>
            </a:pathLst>
          </a:custGeom>
          <a:solidFill>
            <a:srgbClr val="FF540A"/>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99652488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3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8" name="Picture 7">
            <a:extLst>
              <a:ext uri="{FF2B5EF4-FFF2-40B4-BE49-F238E27FC236}">
                <a16:creationId xmlns:a16="http://schemas.microsoft.com/office/drawing/2014/main" id="{4B98EA9B-8D5B-4923-90F5-A4CDF4762E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6167" y="6056352"/>
            <a:ext cx="2057400" cy="468272"/>
          </a:xfrm>
          <a:prstGeom prst="rect">
            <a:avLst/>
          </a:prstGeom>
        </p:spPr>
      </p:pic>
    </p:spTree>
    <p:extLst>
      <p:ext uri="{BB962C8B-B14F-4D97-AF65-F5344CB8AC3E}">
        <p14:creationId xmlns:p14="http://schemas.microsoft.com/office/powerpoint/2010/main" val="524507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36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29"/>
            <a:ext cx="4544568" cy="276999"/>
          </a:xfrm>
        </p:spPr>
        <p:txBody>
          <a:bodyPr>
            <a:spAutoFit/>
          </a:bodyPr>
          <a:lstStyle>
            <a:lvl1pPr marL="0" marR="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Presenter Name</a:t>
            </a:r>
          </a:p>
        </p:txBody>
      </p:sp>
      <p:sp>
        <p:nvSpPr>
          <p:cNvPr id="14" name="TextBox 13">
            <a:extLst>
              <a:ext uri="{FF2B5EF4-FFF2-40B4-BE49-F238E27FC236}">
                <a16:creationId xmlns:a16="http://schemas.microsoft.com/office/drawing/2014/main" id="{BB93A754-CF98-4BEB-BE89-ADF1CF77AA4F}"/>
              </a:ext>
            </a:extLst>
          </p:cNvPr>
          <p:cNvSpPr txBox="1"/>
          <p:nvPr/>
        </p:nvSpPr>
        <p:spPr>
          <a:xfrm>
            <a:off x="457200" y="6199632"/>
            <a:ext cx="7095744" cy="323165"/>
          </a:xfrm>
          <a:prstGeom prst="rect">
            <a:avLst/>
          </a:prstGeom>
          <a:noFill/>
        </p:spPr>
        <p:txBody>
          <a:bodyPr wrap="square" lIns="0" tIns="0" rIns="0" bIns="0" rtlCol="0" anchor="b" anchorCtr="0">
            <a:spAutoFit/>
          </a:bodyPr>
          <a:lstStyle/>
          <a:p>
            <a:r>
              <a:rPr lang="en-US" sz="700" dirty="0"/>
              <a:t>© 2023 Gartner, Inc. and/or its affiliates. All rights reserved. Gartner is a registered trademark of Gartner, Inc. or its affiliates. This presentation, including all supporting materials, </a:t>
            </a:r>
            <a:br>
              <a:rPr lang="en-US" sz="700" dirty="0"/>
            </a:br>
            <a:r>
              <a:rPr lang="en-US" sz="700" dirty="0"/>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pic>
        <p:nvPicPr>
          <p:cNvPr id="27" name="Picture 26">
            <a:extLst>
              <a:ext uri="{FF2B5EF4-FFF2-40B4-BE49-F238E27FC236}">
                <a16:creationId xmlns:a16="http://schemas.microsoft.com/office/drawing/2014/main" id="{E77AE7DB-FD48-4294-BD87-EA8DA4C9EC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86167" y="6056352"/>
            <a:ext cx="2057400" cy="468273"/>
          </a:xfrm>
          <a:prstGeom prst="rect">
            <a:avLst/>
          </a:prstGeom>
        </p:spPr>
      </p:pic>
    </p:spTree>
    <p:extLst>
      <p:ext uri="{BB962C8B-B14F-4D97-AF65-F5344CB8AC3E}">
        <p14:creationId xmlns:p14="http://schemas.microsoft.com/office/powerpoint/2010/main" val="3866232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015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8457116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5712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23644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1362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92864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Content Placeholder 4"/>
          <p:cNvSpPr>
            <a:spLocks noGrp="1"/>
          </p:cNvSpPr>
          <p:nvPr>
            <p:ph sz="quarter" idx="10" hasCustomPrompt="1"/>
          </p:nvPr>
        </p:nvSpPr>
        <p:spPr>
          <a:xfrm>
            <a:off x="457200" y="1527175"/>
            <a:ext cx="5499100" cy="44608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6842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31046" y="1527048"/>
            <a:ext cx="2600706" cy="4462272"/>
          </a:xfrm>
        </p:spPr>
        <p:txBody>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4159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50"/>
            <a:ext cx="11274552" cy="451231"/>
          </a:xfrm>
        </p:spPr>
        <p:txBody>
          <a:bodyPr/>
          <a:lstStyle/>
          <a:p>
            <a:r>
              <a:rPr lang="en-US" dirty="0"/>
              <a:t>Click to edit title</a:t>
            </a:r>
          </a:p>
        </p:txBody>
      </p:sp>
      <p:sp>
        <p:nvSpPr>
          <p:cNvPr id="3" name="Content Placeholder 2"/>
          <p:cNvSpPr>
            <a:spLocks noGrp="1"/>
          </p:cNvSpPr>
          <p:nvPr>
            <p:ph sz="half" idx="1" hasCustomPrompt="1"/>
          </p:nvPr>
        </p:nvSpPr>
        <p:spPr>
          <a:xfrm>
            <a:off x="457200"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48482"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39764"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31046" y="1527048"/>
            <a:ext cx="2600706" cy="4462272"/>
          </a:xfrm>
          <a:solidFill>
            <a:srgbClr val="F4F4F4"/>
          </a:solidFill>
        </p:spPr>
        <p:txBody>
          <a:bodyPr lIns="91440" tIns="182880" rIns="91440" bIns="91440"/>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77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3432402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8483986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199" y="1009268"/>
            <a:ext cx="606014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199" y="5485384"/>
            <a:ext cx="606014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14764895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199" y="1009268"/>
            <a:ext cx="8366761" cy="4476115"/>
          </a:xfrm>
        </p:spPr>
        <p:txBody>
          <a:bodyPr anchor="ctr" anchorCtr="0"/>
          <a:lstStyle>
            <a:lvl1pPr marL="182880" indent="-4572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199" y="5485384"/>
            <a:ext cx="8366761" cy="347472"/>
          </a:xfrm>
        </p:spPr>
        <p:txBody>
          <a:bodyPr/>
          <a:lstStyle>
            <a:lvl1pPr marL="0" indent="0">
              <a:buNone/>
              <a:defRPr sz="1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1117650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hasCustomPrompt="1"/>
          </p:nvPr>
        </p:nvSpPr>
        <p:spPr>
          <a:xfrm>
            <a:off x="457200" y="1527175"/>
            <a:ext cx="5499100" cy="44608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hasCustomPrompt="1"/>
          </p:nvPr>
        </p:nvSpPr>
        <p:spPr>
          <a:xfrm>
            <a:off x="6234113" y="1527175"/>
            <a:ext cx="5499100" cy="4460875"/>
          </a:xfrm>
        </p:spPr>
        <p:txBody>
          <a:bodyPr/>
          <a:lstStyle>
            <a:lvl1pPr>
              <a:buClrTx/>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hasCustomPrompt="1"/>
          </p:nvPr>
        </p:nvSpPr>
        <p:spPr>
          <a:xfrm>
            <a:off x="457201" y="2193290"/>
            <a:ext cx="5499100" cy="3794760"/>
          </a:xfrm>
        </p:spPr>
        <p:txBody>
          <a:bodyPr>
            <a:noAutofit/>
          </a:bodyPr>
          <a:lstStyle>
            <a:lvl1pPr marL="0" indent="0">
              <a:buNone/>
              <a:defRPr sz="2400" b="1"/>
            </a:lvl1pPr>
            <a:lvl2pPr marL="246888" indent="-246888">
              <a:buClrTx/>
              <a:buSzPct val="100000"/>
              <a:buFont typeface="Arial" panose="020B0604020202020204" pitchFamily="34" charset="0"/>
              <a:buChar char="•"/>
              <a:defRPr sz="2400"/>
            </a:lvl2pPr>
            <a:lvl3pPr marL="740664" indent="-310896">
              <a:buFont typeface="Arial" panose="020B0604020202020204" pitchFamily="34" charset="0"/>
              <a:buChar char="–"/>
              <a:defRPr sz="2400"/>
            </a:lvl3pPr>
            <a:lvl4pPr marL="1179576" indent="-246888">
              <a:buSzPct val="100000"/>
              <a:buFont typeface="Arial" panose="020B0604020202020204" pitchFamily="34" charset="0"/>
              <a:buChar char="•"/>
              <a:defRPr sz="2400"/>
            </a:lvl4pPr>
            <a:lvl5pPr marL="1673352" indent="-32004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5" hasCustomPrompt="1"/>
          </p:nvPr>
        </p:nvSpPr>
        <p:spPr bwMode="ltGray">
          <a:xfrm>
            <a:off x="457200" y="976313"/>
            <a:ext cx="11276013" cy="1047750"/>
          </a:xfrm>
          <a:solidFill>
            <a:srgbClr val="002856"/>
          </a:solidFill>
        </p:spPr>
        <p:txBody>
          <a:bodyPr lIns="137160" rIns="91440" anchor="ctr" anchorCtr="0"/>
          <a:lstStyle>
            <a:lvl1pPr marL="0" indent="0">
              <a:spcBef>
                <a:spcPts val="600"/>
              </a:spcBef>
              <a:buNone/>
              <a:defRPr sz="2400">
                <a:solidFill>
                  <a:srgbClr val="FFFFFF"/>
                </a:solidFill>
              </a:defRPr>
            </a:lvl1pPr>
          </a:lstStyle>
          <a:p>
            <a:pPr lvl="0"/>
            <a:r>
              <a:rPr lang="en-US" dirty="0"/>
              <a:t>Edit Master text styles</a:t>
            </a:r>
          </a:p>
        </p:txBody>
      </p:sp>
      <p:sp>
        <p:nvSpPr>
          <p:cNvPr id="7" name="Text Placeholder 11"/>
          <p:cNvSpPr>
            <a:spLocks noGrp="1"/>
          </p:cNvSpPr>
          <p:nvPr>
            <p:ph type="body" sz="quarter" idx="16" hasCustomPrompt="1"/>
          </p:nvPr>
        </p:nvSpPr>
        <p:spPr>
          <a:xfrm>
            <a:off x="6234113" y="2193290"/>
            <a:ext cx="5499100" cy="3794760"/>
          </a:xfrm>
        </p:spPr>
        <p:txBody>
          <a:bodyPr>
            <a:noAutofit/>
          </a:bodyPr>
          <a:lstStyle>
            <a:lvl1pPr marL="0" indent="0">
              <a:buNone/>
              <a:defRPr sz="2400" b="1"/>
            </a:lvl1pPr>
            <a:lvl2pPr marL="246888" indent="-246888">
              <a:buClrTx/>
              <a:buSzPct val="100000"/>
              <a:buFont typeface="Arial" panose="020B0604020202020204" pitchFamily="34" charset="0"/>
              <a:buChar char="•"/>
              <a:defRPr sz="2400"/>
            </a:lvl2pPr>
            <a:lvl3pPr marL="740664" indent="-310896">
              <a:buFont typeface="Arial" panose="020B0604020202020204" pitchFamily="34" charset="0"/>
              <a:buChar char="–"/>
              <a:defRPr sz="2400"/>
            </a:lvl3pPr>
            <a:lvl4pPr marL="1179576" indent="-246888">
              <a:buSzPct val="100000"/>
              <a:buFont typeface="Arial" panose="020B0604020202020204" pitchFamily="34" charset="0"/>
              <a:buChar char="•"/>
              <a:defRPr sz="2400"/>
            </a:lvl4pPr>
            <a:lvl5pPr marL="1673352" indent="-32004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4388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image" Target="../media/image2.png"/><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heme" Target="../theme/theme2.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8"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image" Target="../media/image9.png"/><Relationship Id="rId2" Type="http://schemas.openxmlformats.org/officeDocument/2006/relationships/slideLayout" Target="../slideLayouts/slideLayout63.xml"/><Relationship Id="rId16" Type="http://schemas.openxmlformats.org/officeDocument/2006/relationships/theme" Target="../theme/theme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32"/>
          <a:srcRect/>
          <a:stretch/>
        </p:blipFill>
        <p:spPr>
          <a:xfrm>
            <a:off x="10452994" y="6241725"/>
            <a:ext cx="1280218" cy="292316"/>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pyright and Pg Num"/>
          <p:cNvSpPr txBox="1"/>
          <p:nvPr userDrawn="1"/>
        </p:nvSpPr>
        <p:spPr>
          <a:xfrm>
            <a:off x="457201" y="6408509"/>
            <a:ext cx="7181849" cy="138499"/>
          </a:xfrm>
          <a:prstGeom prst="rect">
            <a:avLst/>
          </a:prstGeom>
          <a:noFill/>
        </p:spPr>
        <p:txBody>
          <a:bodyPr wrap="square" lIns="0" tIns="0" rIns="0" bIns="0" rtlCol="0" anchor="b" anchorCtr="0">
            <a:spAutoFit/>
          </a:bodyPr>
          <a:lstStyle/>
          <a:p>
            <a:pPr marL="274320" marR="0" lvl="0" indent="-274320" algn="l" defTabSz="914400" rtl="0" eaLnBrk="1" fontAlgn="auto" latinLnBrk="0" hangingPunct="1">
              <a:lnSpc>
                <a:spcPct val="100000"/>
              </a:lnSpc>
              <a:spcBef>
                <a:spcPts val="0"/>
              </a:spcBef>
              <a:spcAft>
                <a:spcPts val="0"/>
              </a:spcAft>
              <a:buClrTx/>
              <a:buSzTx/>
              <a:buFontTx/>
              <a:buNone/>
              <a:tabLst>
                <a:tab pos="288925" algn="l"/>
              </a:tabLst>
              <a:defRPr/>
            </a:pPr>
            <a:fld id="{1CE9EA8B-DBE7-492B-893F-AD13AC039ED7}" type="slidenum">
              <a:rPr lang="en-US" sz="900" smtClean="0">
                <a:solidFill>
                  <a:srgbClr val="000000"/>
                </a:solidFill>
              </a:rPr>
              <a:pPr marL="274320" marR="0" lvl="0" indent="-274320" algn="l" defTabSz="914400" rtl="0" eaLnBrk="1" fontAlgn="auto" latinLnBrk="0" hangingPunct="1">
                <a:lnSpc>
                  <a:spcPct val="100000"/>
                </a:lnSpc>
                <a:spcBef>
                  <a:spcPts val="0"/>
                </a:spcBef>
                <a:spcAft>
                  <a:spcPts val="0"/>
                </a:spcAft>
                <a:buClrTx/>
                <a:buSzTx/>
                <a:buFontTx/>
                <a:buNone/>
                <a:tabLst>
                  <a:tab pos="288925" algn="l"/>
                </a:tabLst>
                <a:defRPr/>
              </a:pPr>
              <a:t>‹#›</a:t>
            </a:fld>
            <a:r>
              <a:rPr lang="en-US" sz="700" dirty="0">
                <a:solidFill>
                  <a:srgbClr val="6F7878"/>
                </a:solidFill>
              </a:rPr>
              <a:t>	© 2024 Gartner, Inc. and/or its affiliates. All rights reserved. Gartner is a registered trademark of Gartner, Inc. and its affiliates.</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4061" r:id="rId1"/>
    <p:sldLayoutId id="2147483751" r:id="rId2"/>
    <p:sldLayoutId id="2147483750" r:id="rId3"/>
    <p:sldLayoutId id="2147483746" r:id="rId4"/>
    <p:sldLayoutId id="2147483875" r:id="rId5"/>
    <p:sldLayoutId id="2147484003" r:id="rId6"/>
    <p:sldLayoutId id="2147483759" r:id="rId7"/>
    <p:sldLayoutId id="2147483748" r:id="rId8"/>
    <p:sldLayoutId id="2147483878" r:id="rId9"/>
    <p:sldLayoutId id="2147484112" r:id="rId10"/>
    <p:sldLayoutId id="2147483880" r:id="rId11"/>
    <p:sldLayoutId id="2147483920" r:id="rId12"/>
    <p:sldLayoutId id="2147483882" r:id="rId13"/>
    <p:sldLayoutId id="2147483761" r:id="rId14"/>
    <p:sldLayoutId id="2147484114" r:id="rId15"/>
    <p:sldLayoutId id="2147483990" r:id="rId16"/>
    <p:sldLayoutId id="2147484184" r:id="rId17"/>
    <p:sldLayoutId id="2147483788" r:id="rId18"/>
    <p:sldLayoutId id="2147484004" r:id="rId19"/>
    <p:sldLayoutId id="2147484142" r:id="rId20"/>
    <p:sldLayoutId id="2147484148" r:id="rId21"/>
    <p:sldLayoutId id="2147484149" r:id="rId22"/>
    <p:sldLayoutId id="2147484150" r:id="rId23"/>
    <p:sldLayoutId id="2147483790" r:id="rId24"/>
    <p:sldLayoutId id="2147484020" r:id="rId25"/>
    <p:sldLayoutId id="2147484108" r:id="rId26"/>
    <p:sldLayoutId id="2147484109" r:id="rId27"/>
    <p:sldLayoutId id="2147484147" r:id="rId28"/>
    <p:sldLayoutId id="2147484152" r:id="rId29"/>
    <p:sldLayoutId id="2147484153" r:id="rId30"/>
  </p:sldLayoutIdLst>
  <p:hf sldNum="0" hdr="0" ftr="0" dt="0"/>
  <p:txStyles>
    <p:titleStyle>
      <a:lvl1pPr algn="l" defTabSz="914400"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46888" indent="-246888" algn="l" defTabSz="914400" rtl="0" eaLnBrk="1" latinLnBrk="0" hangingPunct="1">
        <a:lnSpc>
          <a:spcPct val="90000"/>
        </a:lnSpc>
        <a:spcBef>
          <a:spcPts val="1200"/>
        </a:spcBef>
        <a:spcAft>
          <a:spcPts val="0"/>
        </a:spcAft>
        <a:buClrTx/>
        <a:buSzPct val="100000"/>
        <a:buFont typeface="Arial" panose="020B0604020202020204" pitchFamily="34" charset="0"/>
        <a:buChar char="•"/>
        <a:defRPr sz="2800" kern="1200">
          <a:solidFill>
            <a:schemeClr val="tx1"/>
          </a:solidFill>
          <a:latin typeface="+mn-lt"/>
          <a:ea typeface="+mn-ea"/>
          <a:cs typeface="+mn-cs"/>
        </a:defRPr>
      </a:lvl1pPr>
      <a:lvl2pPr marL="740664" indent="-310896"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9576"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3352" indent="-32004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4pPr>
      <a:lvl5pPr marL="2112264" indent="-246888"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guide id="16" pos="2655" userDrawn="1">
          <p15:clr>
            <a:srgbClr val="5ACBF0"/>
          </p15:clr>
        </p15:guide>
        <p15:guide id="17" pos="5024" userDrawn="1">
          <p15:clr>
            <a:srgbClr val="5ACBF0"/>
          </p15:clr>
        </p15:guide>
        <p15:guide id="18" orient="horz" pos="3969"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marL="246888" lvl="0" indent="-246888"/>
            <a:r>
              <a:rPr lang="en-US" dirty="0"/>
              <a:t>Edit Master text styles</a:t>
            </a:r>
          </a:p>
          <a:p>
            <a:pPr marL="740664" lvl="1" indent="-310896">
              <a:buSzPct val="100000"/>
            </a:pPr>
            <a:r>
              <a:rPr lang="en-US" dirty="0"/>
              <a:t>Second level</a:t>
            </a:r>
          </a:p>
          <a:p>
            <a:pPr marL="1179576" lvl="2" indent="-246888"/>
            <a:r>
              <a:rPr lang="en-US" dirty="0"/>
              <a:t>Third level</a:t>
            </a:r>
          </a:p>
          <a:p>
            <a:pPr marL="1673352" lvl="3" indent="-320040">
              <a:buSzPct val="100000"/>
            </a:pPr>
            <a:r>
              <a:rPr lang="en-US" dirty="0"/>
              <a:t>Fourth level</a:t>
            </a:r>
          </a:p>
          <a:p>
            <a:pPr marL="2112264" lvl="4" indent="-246888"/>
            <a:r>
              <a:rPr lang="en-US" dirty="0"/>
              <a:t>Fifth level</a:t>
            </a:r>
          </a:p>
        </p:txBody>
      </p:sp>
      <p:sp>
        <p:nvSpPr>
          <p:cNvPr id="10" name="Copyright and Pg Num"/>
          <p:cNvSpPr txBox="1"/>
          <p:nvPr userDrawn="1"/>
        </p:nvSpPr>
        <p:spPr>
          <a:xfrm>
            <a:off x="457201" y="6408509"/>
            <a:ext cx="7181849" cy="138499"/>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9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BDBDBD"/>
                </a:solidFill>
              </a:rPr>
              <a:t>	© 2024 Gartner, Inc. and/or its affiliates. All rights reserved. Gartner is a registered trademark of Gartner, Inc. and its affiliates.</a:t>
            </a:r>
          </a:p>
        </p:txBody>
      </p:sp>
      <p:pic>
        <p:nvPicPr>
          <p:cNvPr id="6" name="Gartner Logo">
            <a:extLst>
              <a:ext uri="{FF2B5EF4-FFF2-40B4-BE49-F238E27FC236}">
                <a16:creationId xmlns:a16="http://schemas.microsoft.com/office/drawing/2014/main" id="{70D83CAB-033A-4776-AB08-6451D3DAE8B9}"/>
              </a:ext>
            </a:extLst>
          </p:cNvPr>
          <p:cNvPicPr>
            <a:picLocks noChangeAspect="1"/>
          </p:cNvPicPr>
          <p:nvPr userDrawn="1"/>
        </p:nvPicPr>
        <p:blipFill>
          <a:blip r:embed="rId33"/>
          <a:srcRect/>
          <a:stretch/>
        </p:blipFill>
        <p:spPr bwMode="black">
          <a:xfrm>
            <a:off x="10452995" y="6241725"/>
            <a:ext cx="1280216" cy="292315"/>
          </a:xfrm>
          <a:prstGeom prst="rect">
            <a:avLst/>
          </a:prstGeom>
        </p:spPr>
      </p:pic>
    </p:spTree>
    <p:extLst>
      <p:ext uri="{BB962C8B-B14F-4D97-AF65-F5344CB8AC3E}">
        <p14:creationId xmlns:p14="http://schemas.microsoft.com/office/powerpoint/2010/main" val="4022477962"/>
      </p:ext>
    </p:extLst>
  </p:cSld>
  <p:clrMap bg1="dk1" tx1="lt1" bg2="dk2" tx2="lt2" accent1="accent1" accent2="accent2" accent3="accent3" accent4="accent4" accent5="accent5" accent6="accent6" hlink="hlink" folHlink="folHlink"/>
  <p:sldLayoutIdLst>
    <p:sldLayoutId id="2147484116"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71" r:id="rId10"/>
    <p:sldLayoutId id="2147484126" r:id="rId11"/>
    <p:sldLayoutId id="2147484127" r:id="rId12"/>
    <p:sldLayoutId id="2147484130" r:id="rId13"/>
    <p:sldLayoutId id="2147484131" r:id="rId14"/>
    <p:sldLayoutId id="2147484132" r:id="rId15"/>
    <p:sldLayoutId id="2147484133" r:id="rId16"/>
    <p:sldLayoutId id="2147484183" r:id="rId17"/>
    <p:sldLayoutId id="2147484134" r:id="rId18"/>
    <p:sldLayoutId id="2147484135" r:id="rId19"/>
    <p:sldLayoutId id="2147484143" r:id="rId20"/>
    <p:sldLayoutId id="2147484155" r:id="rId21"/>
    <p:sldLayoutId id="2147484157" r:id="rId22"/>
    <p:sldLayoutId id="2147484144" r:id="rId23"/>
    <p:sldLayoutId id="2147484145" r:id="rId24"/>
    <p:sldLayoutId id="2147484172" r:id="rId25"/>
    <p:sldLayoutId id="2147484173" r:id="rId26"/>
    <p:sldLayoutId id="2147484174" r:id="rId27"/>
    <p:sldLayoutId id="2147484175" r:id="rId28"/>
    <p:sldLayoutId id="2147484176" r:id="rId29"/>
    <p:sldLayoutId id="2147484180" r:id="rId30"/>
    <p:sldLayoutId id="2147484181" r:id="rId31"/>
  </p:sldLayoutIdLst>
  <p:hf sldNum="0" hdr="0" ftr="0" dt="0"/>
  <p:txStyles>
    <p:titleStyle>
      <a:lvl1pPr algn="l" defTabSz="914400"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p:titleStyle>
    <p:bodyStyle>
      <a:lvl1pPr marL="274320" indent="-274320" algn="l" defTabSz="914400" rtl="0" eaLnBrk="1" latinLnBrk="0" hangingPunct="1">
        <a:lnSpc>
          <a:spcPct val="90000"/>
        </a:lnSpc>
        <a:spcBef>
          <a:spcPts val="1200"/>
        </a:spcBef>
        <a:spcAft>
          <a:spcPts val="0"/>
        </a:spcAft>
        <a:buClrTx/>
        <a:buSzPct val="100000"/>
        <a:buFont typeface="Arial" panose="020B0604020202020204" pitchFamily="34" charset="0"/>
        <a:buChar char="•"/>
        <a:defRPr lang="en-US" sz="2800" kern="1200" dirty="0">
          <a:solidFill>
            <a:schemeClr val="tx1"/>
          </a:solidFill>
          <a:latin typeface="+mn-lt"/>
          <a:ea typeface="+mn-ea"/>
          <a:cs typeface="+mn-cs"/>
        </a:defRPr>
      </a:lvl1pPr>
      <a:lvl2pPr marL="640080" indent="-274320" algn="l" defTabSz="914400" rtl="0" eaLnBrk="1" latinLnBrk="0" hangingPunct="1">
        <a:lnSpc>
          <a:spcPct val="90000"/>
        </a:lnSpc>
        <a:spcBef>
          <a:spcPts val="1200"/>
        </a:spcBef>
        <a:spcAft>
          <a:spcPts val="0"/>
        </a:spcAft>
        <a:buSzPct val="90000"/>
        <a:buFont typeface="Arial" panose="020B0604020202020204" pitchFamily="34" charset="0"/>
        <a:buChar char="–"/>
        <a:defRPr lang="en-US" sz="2400" kern="1200" dirty="0">
          <a:solidFill>
            <a:schemeClr val="tx1"/>
          </a:solidFill>
          <a:latin typeface="+mn-lt"/>
          <a:ea typeface="+mn-ea"/>
          <a:cs typeface="+mn-cs"/>
        </a:defRPr>
      </a:lvl2pPr>
      <a:lvl3pPr marL="914400" indent="-228600" algn="l" defTabSz="914400" rtl="0" eaLnBrk="1" latinLnBrk="0" hangingPunct="1">
        <a:lnSpc>
          <a:spcPct val="90000"/>
        </a:lnSpc>
        <a:spcBef>
          <a:spcPts val="1200"/>
        </a:spcBef>
        <a:spcAft>
          <a:spcPts val="0"/>
        </a:spcAft>
        <a:buSzPct val="100000"/>
        <a:buFont typeface="Arial" panose="020B0604020202020204" pitchFamily="34" charset="0"/>
        <a:buChar char="•"/>
        <a:defRPr lang="en-US" sz="2400" kern="1200" dirty="0">
          <a:solidFill>
            <a:schemeClr val="tx1"/>
          </a:solidFill>
          <a:latin typeface="+mn-lt"/>
          <a:ea typeface="+mn-ea"/>
          <a:cs typeface="+mn-cs"/>
        </a:defRPr>
      </a:lvl3pPr>
      <a:lvl4pPr marL="1280160" indent="-274320" algn="l" defTabSz="914400" rtl="0" eaLnBrk="1" latinLnBrk="0" hangingPunct="1">
        <a:lnSpc>
          <a:spcPct val="90000"/>
        </a:lnSpc>
        <a:spcBef>
          <a:spcPts val="1200"/>
        </a:spcBef>
        <a:spcAft>
          <a:spcPts val="0"/>
        </a:spcAft>
        <a:buSzPct val="90000"/>
        <a:buFont typeface="Arial" panose="020B0604020202020204" pitchFamily="34" charset="0"/>
        <a:buChar char="–"/>
        <a:defRPr lang="en-US" sz="2400" kern="1200" dirty="0">
          <a:solidFill>
            <a:schemeClr val="tx1"/>
          </a:solidFill>
          <a:latin typeface="+mn-lt"/>
          <a:ea typeface="+mn-ea"/>
          <a:cs typeface="+mn-cs"/>
        </a:defRPr>
      </a:lvl4pPr>
      <a:lvl5pPr marL="1554480" indent="-228600" algn="l" defTabSz="914400" rtl="0" eaLnBrk="1" latinLnBrk="0" hangingPunct="1">
        <a:lnSpc>
          <a:spcPct val="90000"/>
        </a:lnSpc>
        <a:spcBef>
          <a:spcPts val="1200"/>
        </a:spcBef>
        <a:spcAft>
          <a:spcPts val="0"/>
        </a:spcAft>
        <a:buSzPct val="100000"/>
        <a:buFont typeface="Arial" panose="020B0604020202020204" pitchFamily="34" charset="0"/>
        <a:buChar char="•"/>
        <a:defRPr lang="en-US" sz="24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guide id="18" orient="horz" pos="3969"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1950"/>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6280611A-9339-449F-9F81-506F1D1F9390}"/>
              </a:ext>
            </a:extLst>
          </p:cNvPr>
          <p:cNvSpPr txBox="1"/>
          <p:nvPr/>
        </p:nvSpPr>
        <p:spPr>
          <a:xfrm>
            <a:off x="694944" y="6302222"/>
            <a:ext cx="2313432" cy="107722"/>
          </a:xfrm>
          <a:prstGeom prst="rect">
            <a:avLst/>
          </a:prstGeom>
          <a:noFill/>
        </p:spPr>
        <p:txBody>
          <a:bodyPr wrap="square" lIns="0" tIns="0" rIns="0" bIns="0" rtlCol="0" anchor="b" anchorCtr="0">
            <a:spAutoFit/>
          </a:bodyPr>
          <a:lstStyle/>
          <a:p>
            <a:pPr>
              <a:lnSpc>
                <a:spcPct val="100000"/>
              </a:lnSpc>
              <a:spcBef>
                <a:spcPts val="0"/>
              </a:spcBef>
              <a:spcAft>
                <a:spcPts val="0"/>
              </a:spcAft>
            </a:pPr>
            <a:r>
              <a:rPr lang="en-US" sz="700" b="1" dirty="0">
                <a:solidFill>
                  <a:schemeClr val="tx1"/>
                </a:solidFill>
              </a:rPr>
              <a:t>RESTRICTED DISTRIBUTION</a:t>
            </a:r>
          </a:p>
        </p:txBody>
      </p:sp>
      <p:sp>
        <p:nvSpPr>
          <p:cNvPr id="14" name="TextBox 13">
            <a:extLst>
              <a:ext uri="{FF2B5EF4-FFF2-40B4-BE49-F238E27FC236}">
                <a16:creationId xmlns:a16="http://schemas.microsoft.com/office/drawing/2014/main" id="{4C02A410-1807-488C-9458-4CFAF1E4E8F0}"/>
              </a:ext>
            </a:extLst>
          </p:cNvPr>
          <p:cNvSpPr txBox="1"/>
          <p:nvPr/>
        </p:nvSpPr>
        <p:spPr>
          <a:xfrm>
            <a:off x="457200" y="6393216"/>
            <a:ext cx="7306056" cy="153888"/>
          </a:xfrm>
          <a:prstGeom prst="rect">
            <a:avLst/>
          </a:prstGeom>
          <a:noFill/>
        </p:spPr>
        <p:txBody>
          <a:bodyPr wrap="square" lIns="0" tIns="0" rIns="0" bIns="0" rtlCol="0" anchor="b" anchorCtr="0">
            <a:spAutoFit/>
          </a:bodyPr>
          <a:lstStyle/>
          <a:p>
            <a:pPr marL="228600" indent="-228600"/>
            <a:fld id="{E19460A7-1930-4D5F-A936-CB6F16095A68}" type="slidenum">
              <a:rPr lang="en-US" sz="1000" b="0" smtClean="0">
                <a:solidFill>
                  <a:schemeClr val="tx1"/>
                </a:solidFill>
              </a:rPr>
              <a:t>‹#›</a:t>
            </a:fld>
            <a:r>
              <a:rPr lang="en-US" sz="700" b="0" dirty="0">
                <a:solidFill>
                  <a:schemeClr val="tx1"/>
                </a:solidFill>
              </a:rPr>
              <a:t>	© 2023 Gartner, Inc. and/or its affiliates. All rights reserved.				</a:t>
            </a:r>
          </a:p>
        </p:txBody>
      </p:sp>
      <p:pic>
        <p:nvPicPr>
          <p:cNvPr id="7" name="Picture 6">
            <a:extLst>
              <a:ext uri="{FF2B5EF4-FFF2-40B4-BE49-F238E27FC236}">
                <a16:creationId xmlns:a16="http://schemas.microsoft.com/office/drawing/2014/main" id="{57E7FBBB-CE99-4B6D-A472-B54EFCF1704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453052" y="6242938"/>
            <a:ext cx="1280160" cy="291370"/>
          </a:xfrm>
          <a:prstGeom prst="rect">
            <a:avLst/>
          </a:prstGeom>
        </p:spPr>
      </p:pic>
    </p:spTree>
    <p:extLst>
      <p:ext uri="{BB962C8B-B14F-4D97-AF65-F5344CB8AC3E}">
        <p14:creationId xmlns:p14="http://schemas.microsoft.com/office/powerpoint/2010/main" val="882564181"/>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p:titleStyle>
    <p:body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2160">
          <p15:clr>
            <a:srgbClr val="A4A3A4"/>
          </p15:clr>
        </p15:guide>
        <p15:guide id="15" pos="384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288">
          <p15:clr>
            <a:srgbClr val="5ACBF0"/>
          </p15:clr>
        </p15:guide>
        <p15:guide id="24" pos="3756">
          <p15:clr>
            <a:srgbClr val="5ACBF0"/>
          </p15:clr>
        </p15:guide>
        <p15:guide id="25" pos="3927">
          <p15:clr>
            <a:srgbClr val="5ACBF0"/>
          </p15:clr>
        </p15:guide>
        <p15:guide id="26" pos="7394">
          <p15:clr>
            <a:srgbClr val="5ACBF0"/>
          </p15:clr>
        </p15:guide>
        <p15:guide id="27" orient="horz" pos="3969">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3.sv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hyperlink" Target="https://www.carbmee.com/" TargetMode="External"/><Relationship Id="rId3" Type="http://schemas.openxmlformats.org/officeDocument/2006/relationships/image" Target="../media/image13.png"/><Relationship Id="rId7" Type="http://schemas.openxmlformats.org/officeDocument/2006/relationships/hyperlink" Target="https://www.vizibl.co/"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hyperlink" Target="https://sphera.com/" TargetMode="External"/><Relationship Id="rId4" Type="http://schemas.openxmlformats.org/officeDocument/2006/relationships/image" Target="../media/image14.png"/><Relationship Id="rId9" Type="http://schemas.openxmlformats.org/officeDocument/2006/relationships/hyperlink" Target="https://www.ivalua.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
          </p:nvPr>
        </p:nvSpPr>
        <p:spPr/>
        <p:txBody>
          <a:bodyPr/>
          <a:lstStyle/>
          <a:p>
            <a:r>
              <a:rPr lang="en-US" dirty="0"/>
              <a:t>Miguel Cossio</a:t>
            </a:r>
          </a:p>
        </p:txBody>
      </p:sp>
      <p:sp>
        <p:nvSpPr>
          <p:cNvPr id="6" name="Title 5"/>
          <p:cNvSpPr>
            <a:spLocks noGrp="1"/>
          </p:cNvSpPr>
          <p:nvPr>
            <p:ph type="ctrTitle"/>
          </p:nvPr>
        </p:nvSpPr>
        <p:spPr/>
        <p:txBody>
          <a:bodyPr/>
          <a:lstStyle/>
          <a:p>
            <a:r>
              <a:rPr lang="en-US" dirty="0"/>
              <a:t>Navigating the Technology Landscape for Scope 3 Solutions</a:t>
            </a:r>
          </a:p>
        </p:txBody>
      </p:sp>
    </p:spTree>
    <p:extLst>
      <p:ext uri="{BB962C8B-B14F-4D97-AF65-F5344CB8AC3E}">
        <p14:creationId xmlns:p14="http://schemas.microsoft.com/office/powerpoint/2010/main" val="2298551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4595C3C-F4EF-F116-4F7B-30AA60F97183}"/>
              </a:ext>
            </a:extLst>
          </p:cNvPr>
          <p:cNvSpPr/>
          <p:nvPr/>
        </p:nvSpPr>
        <p:spPr>
          <a:xfrm>
            <a:off x="513553" y="3865124"/>
            <a:ext cx="11164894" cy="2278993"/>
          </a:xfrm>
          <a:prstGeom prst="rect">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Title 1">
            <a:extLst>
              <a:ext uri="{FF2B5EF4-FFF2-40B4-BE49-F238E27FC236}">
                <a16:creationId xmlns:a16="http://schemas.microsoft.com/office/drawing/2014/main" id="{40297DF8-8820-EC62-F1F7-A70FE1CB207A}"/>
              </a:ext>
            </a:extLst>
          </p:cNvPr>
          <p:cNvSpPr>
            <a:spLocks noGrp="1"/>
          </p:cNvSpPr>
          <p:nvPr>
            <p:ph type="title"/>
          </p:nvPr>
        </p:nvSpPr>
        <p:spPr/>
        <p:txBody>
          <a:bodyPr/>
          <a:lstStyle/>
          <a:p>
            <a:r>
              <a:rPr lang="en-US" dirty="0"/>
              <a:t>Outcomes Enabled and Key Capabilities Offered</a:t>
            </a:r>
          </a:p>
        </p:txBody>
      </p:sp>
      <p:sp>
        <p:nvSpPr>
          <p:cNvPr id="4" name="Rectangle 3">
            <a:extLst>
              <a:ext uri="{FF2B5EF4-FFF2-40B4-BE49-F238E27FC236}">
                <a16:creationId xmlns:a16="http://schemas.microsoft.com/office/drawing/2014/main" id="{8A492756-9B5C-492C-406C-172C2CCDE152}"/>
              </a:ext>
            </a:extLst>
          </p:cNvPr>
          <p:cNvSpPr/>
          <p:nvPr/>
        </p:nvSpPr>
        <p:spPr>
          <a:xfrm>
            <a:off x="500240" y="1787914"/>
            <a:ext cx="2417275" cy="482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Measure</a:t>
            </a:r>
          </a:p>
        </p:txBody>
      </p:sp>
      <p:sp>
        <p:nvSpPr>
          <p:cNvPr id="5" name="Rectangle 4">
            <a:extLst>
              <a:ext uri="{FF2B5EF4-FFF2-40B4-BE49-F238E27FC236}">
                <a16:creationId xmlns:a16="http://schemas.microsoft.com/office/drawing/2014/main" id="{50B69369-07F3-1A42-381A-C817576ACB8D}"/>
              </a:ext>
            </a:extLst>
          </p:cNvPr>
          <p:cNvSpPr/>
          <p:nvPr/>
        </p:nvSpPr>
        <p:spPr>
          <a:xfrm>
            <a:off x="3413817" y="1787913"/>
            <a:ext cx="2417275" cy="4869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Manage</a:t>
            </a:r>
          </a:p>
        </p:txBody>
      </p:sp>
      <p:sp>
        <p:nvSpPr>
          <p:cNvPr id="6" name="Rectangle 5">
            <a:extLst>
              <a:ext uri="{FF2B5EF4-FFF2-40B4-BE49-F238E27FC236}">
                <a16:creationId xmlns:a16="http://schemas.microsoft.com/office/drawing/2014/main" id="{B1C01254-A2B8-E4AE-2257-F3DB0146FFFC}"/>
              </a:ext>
            </a:extLst>
          </p:cNvPr>
          <p:cNvSpPr/>
          <p:nvPr/>
        </p:nvSpPr>
        <p:spPr>
          <a:xfrm>
            <a:off x="6382339" y="1781809"/>
            <a:ext cx="2417275" cy="4869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Reduce</a:t>
            </a:r>
          </a:p>
        </p:txBody>
      </p:sp>
      <p:sp>
        <p:nvSpPr>
          <p:cNvPr id="7" name="Rectangle 6">
            <a:extLst>
              <a:ext uri="{FF2B5EF4-FFF2-40B4-BE49-F238E27FC236}">
                <a16:creationId xmlns:a16="http://schemas.microsoft.com/office/drawing/2014/main" id="{30E2D0C2-6398-B408-57E9-E7293D243EC9}"/>
              </a:ext>
            </a:extLst>
          </p:cNvPr>
          <p:cNvSpPr/>
          <p:nvPr/>
        </p:nvSpPr>
        <p:spPr>
          <a:xfrm>
            <a:off x="9268738" y="1782954"/>
            <a:ext cx="2417275" cy="4869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Report</a:t>
            </a:r>
          </a:p>
        </p:txBody>
      </p:sp>
      <p:sp>
        <p:nvSpPr>
          <p:cNvPr id="8" name="TextBox 7">
            <a:extLst>
              <a:ext uri="{FF2B5EF4-FFF2-40B4-BE49-F238E27FC236}">
                <a16:creationId xmlns:a16="http://schemas.microsoft.com/office/drawing/2014/main" id="{4092856A-CFE0-BFDD-9214-2E229E654F4C}"/>
              </a:ext>
            </a:extLst>
          </p:cNvPr>
          <p:cNvSpPr txBox="1"/>
          <p:nvPr/>
        </p:nvSpPr>
        <p:spPr>
          <a:xfrm>
            <a:off x="475028" y="2471247"/>
            <a:ext cx="2388305" cy="1031051"/>
          </a:xfrm>
          <a:prstGeom prst="rect">
            <a:avLst/>
          </a:prstGeom>
          <a:noFill/>
        </p:spPr>
        <p:txBody>
          <a:bodyPr wrap="square" lIns="91440" rIns="0" rtlCol="0">
            <a:spAutoFit/>
          </a:bodyPr>
          <a:lstStyle/>
          <a:p>
            <a:pPr>
              <a:spcBef>
                <a:spcPts val="600"/>
              </a:spcBef>
              <a:spcAft>
                <a:spcPts val="600"/>
              </a:spcAft>
            </a:pPr>
            <a:r>
              <a:rPr lang="en-US" sz="1700" b="1" dirty="0"/>
              <a:t>Supplier readiness</a:t>
            </a:r>
          </a:p>
          <a:p>
            <a:pPr algn="l">
              <a:spcBef>
                <a:spcPts val="600"/>
              </a:spcBef>
              <a:spcAft>
                <a:spcPts val="600"/>
              </a:spcAft>
            </a:pPr>
            <a:r>
              <a:rPr lang="en-US" sz="1700" b="1" dirty="0"/>
              <a:t>Baselining and hotspot analysis</a:t>
            </a:r>
          </a:p>
        </p:txBody>
      </p:sp>
      <p:sp>
        <p:nvSpPr>
          <p:cNvPr id="9" name="TextBox 8">
            <a:extLst>
              <a:ext uri="{FF2B5EF4-FFF2-40B4-BE49-F238E27FC236}">
                <a16:creationId xmlns:a16="http://schemas.microsoft.com/office/drawing/2014/main" id="{0D778372-BB68-794B-B80A-95EF26EF6822}"/>
              </a:ext>
            </a:extLst>
          </p:cNvPr>
          <p:cNvSpPr txBox="1"/>
          <p:nvPr/>
        </p:nvSpPr>
        <p:spPr>
          <a:xfrm>
            <a:off x="3413817" y="2468443"/>
            <a:ext cx="2450472" cy="769441"/>
          </a:xfrm>
          <a:prstGeom prst="rect">
            <a:avLst/>
          </a:prstGeom>
          <a:noFill/>
        </p:spPr>
        <p:txBody>
          <a:bodyPr wrap="square" lIns="91440" rIns="0" rtlCol="0">
            <a:spAutoFit/>
          </a:bodyPr>
          <a:lstStyle>
            <a:defPPr>
              <a:defRPr lang="en-US"/>
            </a:defPPr>
            <a:lvl1pPr>
              <a:spcBef>
                <a:spcPts val="600"/>
              </a:spcBef>
              <a:spcAft>
                <a:spcPts val="600"/>
              </a:spcAft>
              <a:defRPr sz="1400" b="1"/>
            </a:lvl1pPr>
          </a:lstStyle>
          <a:p>
            <a:r>
              <a:rPr lang="en-US" sz="1700" dirty="0"/>
              <a:t>Basic data analytics</a:t>
            </a:r>
          </a:p>
          <a:p>
            <a:r>
              <a:rPr lang="en-US" sz="1700" dirty="0"/>
              <a:t>Emissions glidepaths </a:t>
            </a:r>
          </a:p>
        </p:txBody>
      </p:sp>
      <p:sp>
        <p:nvSpPr>
          <p:cNvPr id="10" name="TextBox 9">
            <a:extLst>
              <a:ext uri="{FF2B5EF4-FFF2-40B4-BE49-F238E27FC236}">
                <a16:creationId xmlns:a16="http://schemas.microsoft.com/office/drawing/2014/main" id="{5D94D7EB-2DD7-A0BF-3920-246F80B92376}"/>
              </a:ext>
            </a:extLst>
          </p:cNvPr>
          <p:cNvSpPr txBox="1"/>
          <p:nvPr/>
        </p:nvSpPr>
        <p:spPr>
          <a:xfrm>
            <a:off x="6382339" y="2468443"/>
            <a:ext cx="2560320" cy="615553"/>
          </a:xfrm>
          <a:prstGeom prst="rect">
            <a:avLst/>
          </a:prstGeom>
          <a:noFill/>
        </p:spPr>
        <p:txBody>
          <a:bodyPr wrap="square" lIns="91440" rIns="0" rtlCol="0">
            <a:spAutoFit/>
          </a:bodyPr>
          <a:lstStyle>
            <a:defPPr>
              <a:defRPr lang="en-US"/>
            </a:defPPr>
            <a:lvl1pPr>
              <a:spcBef>
                <a:spcPts val="600"/>
              </a:spcBef>
              <a:spcAft>
                <a:spcPts val="600"/>
              </a:spcAft>
              <a:defRPr sz="1400" b="1"/>
            </a:lvl1pPr>
          </a:lstStyle>
          <a:p>
            <a:r>
              <a:rPr lang="en-US" sz="1700" dirty="0"/>
              <a:t>Supplier capability-building</a:t>
            </a:r>
          </a:p>
        </p:txBody>
      </p:sp>
      <p:sp>
        <p:nvSpPr>
          <p:cNvPr id="11" name="TextBox 10">
            <a:extLst>
              <a:ext uri="{FF2B5EF4-FFF2-40B4-BE49-F238E27FC236}">
                <a16:creationId xmlns:a16="http://schemas.microsoft.com/office/drawing/2014/main" id="{6F3C0077-679F-8602-73B2-C3ED34402B1B}"/>
              </a:ext>
            </a:extLst>
          </p:cNvPr>
          <p:cNvSpPr txBox="1"/>
          <p:nvPr/>
        </p:nvSpPr>
        <p:spPr>
          <a:xfrm>
            <a:off x="9268738" y="2468443"/>
            <a:ext cx="2323233" cy="1184940"/>
          </a:xfrm>
          <a:prstGeom prst="rect">
            <a:avLst/>
          </a:prstGeom>
          <a:noFill/>
        </p:spPr>
        <p:txBody>
          <a:bodyPr wrap="square" lIns="91440" rIns="0" rtlCol="0">
            <a:spAutoFit/>
          </a:bodyPr>
          <a:lstStyle>
            <a:defPPr>
              <a:defRPr lang="en-US"/>
            </a:defPPr>
            <a:lvl1pPr>
              <a:spcBef>
                <a:spcPts val="600"/>
              </a:spcBef>
              <a:spcAft>
                <a:spcPts val="600"/>
              </a:spcAft>
              <a:defRPr sz="1400" b="1"/>
            </a:lvl1pPr>
          </a:lstStyle>
          <a:p>
            <a:r>
              <a:rPr lang="en-US" sz="1700" dirty="0"/>
              <a:t>Data exports</a:t>
            </a:r>
          </a:p>
          <a:p>
            <a:r>
              <a:rPr lang="en-US" sz="1700" dirty="0"/>
              <a:t>API Integrations</a:t>
            </a:r>
          </a:p>
          <a:p>
            <a:r>
              <a:rPr lang="en-US" sz="1700" dirty="0"/>
              <a:t>Auditable data sets</a:t>
            </a:r>
          </a:p>
        </p:txBody>
      </p:sp>
      <p:sp>
        <p:nvSpPr>
          <p:cNvPr id="17" name="TextBox 16">
            <a:extLst>
              <a:ext uri="{FF2B5EF4-FFF2-40B4-BE49-F238E27FC236}">
                <a16:creationId xmlns:a16="http://schemas.microsoft.com/office/drawing/2014/main" id="{8F3329FC-7023-5320-1C43-9121A7AE14FA}"/>
              </a:ext>
            </a:extLst>
          </p:cNvPr>
          <p:cNvSpPr txBox="1"/>
          <p:nvPr/>
        </p:nvSpPr>
        <p:spPr>
          <a:xfrm>
            <a:off x="500240" y="4261317"/>
            <a:ext cx="2388305" cy="1708160"/>
          </a:xfrm>
          <a:prstGeom prst="rect">
            <a:avLst/>
          </a:prstGeom>
          <a:noFill/>
        </p:spPr>
        <p:txBody>
          <a:bodyPr wrap="square" lIns="91440" rIns="0" rtlCol="0">
            <a:spAutoFit/>
          </a:bodyPr>
          <a:lstStyle/>
          <a:p>
            <a:pPr algn="l">
              <a:spcBef>
                <a:spcPts val="600"/>
              </a:spcBef>
              <a:spcAft>
                <a:spcPts val="600"/>
              </a:spcAft>
            </a:pPr>
            <a:r>
              <a:rPr lang="en-US" sz="1700" b="1" dirty="0">
                <a:solidFill>
                  <a:schemeClr val="bg1"/>
                </a:solidFill>
              </a:rPr>
              <a:t>Primary data collection</a:t>
            </a:r>
          </a:p>
          <a:p>
            <a:pPr algn="l">
              <a:spcBef>
                <a:spcPts val="600"/>
              </a:spcBef>
              <a:spcAft>
                <a:spcPts val="600"/>
              </a:spcAft>
            </a:pPr>
            <a:r>
              <a:rPr lang="en-US" sz="1700" b="1" dirty="0">
                <a:solidFill>
                  <a:schemeClr val="bg1"/>
                </a:solidFill>
              </a:rPr>
              <a:t>Carbon calculator</a:t>
            </a:r>
          </a:p>
          <a:p>
            <a:pPr algn="l">
              <a:spcBef>
                <a:spcPts val="600"/>
              </a:spcBef>
              <a:spcAft>
                <a:spcPts val="600"/>
              </a:spcAft>
            </a:pPr>
            <a:r>
              <a:rPr lang="en-US" sz="1700" b="1" dirty="0">
                <a:solidFill>
                  <a:schemeClr val="bg1"/>
                </a:solidFill>
              </a:rPr>
              <a:t>Product Carbon Footprints</a:t>
            </a:r>
          </a:p>
        </p:txBody>
      </p:sp>
      <p:sp>
        <p:nvSpPr>
          <p:cNvPr id="18" name="TextBox 17">
            <a:extLst>
              <a:ext uri="{FF2B5EF4-FFF2-40B4-BE49-F238E27FC236}">
                <a16:creationId xmlns:a16="http://schemas.microsoft.com/office/drawing/2014/main" id="{FFB9B040-F460-9A7A-CD83-039A4E7A7D33}"/>
              </a:ext>
            </a:extLst>
          </p:cNvPr>
          <p:cNvSpPr txBox="1"/>
          <p:nvPr/>
        </p:nvSpPr>
        <p:spPr>
          <a:xfrm>
            <a:off x="3413817" y="4261317"/>
            <a:ext cx="2450472" cy="1184940"/>
          </a:xfrm>
          <a:prstGeom prst="rect">
            <a:avLst/>
          </a:prstGeom>
          <a:noFill/>
        </p:spPr>
        <p:txBody>
          <a:bodyPr wrap="square" lIns="91440" rIns="0" rtlCol="0">
            <a:spAutoFit/>
          </a:bodyPr>
          <a:lstStyle>
            <a:defPPr>
              <a:defRPr lang="en-US"/>
            </a:defPPr>
            <a:lvl1pPr>
              <a:spcBef>
                <a:spcPts val="600"/>
              </a:spcBef>
              <a:spcAft>
                <a:spcPts val="600"/>
              </a:spcAft>
              <a:defRPr sz="1400" b="1"/>
            </a:lvl1pPr>
          </a:lstStyle>
          <a:p>
            <a:r>
              <a:rPr lang="en-US" sz="1700" dirty="0">
                <a:solidFill>
                  <a:schemeClr val="bg1"/>
                </a:solidFill>
              </a:rPr>
              <a:t>Scenario Modeling</a:t>
            </a:r>
          </a:p>
          <a:p>
            <a:r>
              <a:rPr lang="en-US" sz="1700" dirty="0">
                <a:solidFill>
                  <a:schemeClr val="bg1"/>
                </a:solidFill>
              </a:rPr>
              <a:t>Data quality indicator</a:t>
            </a:r>
          </a:p>
          <a:p>
            <a:r>
              <a:rPr lang="en-US" sz="1700" dirty="0">
                <a:solidFill>
                  <a:schemeClr val="bg1"/>
                </a:solidFill>
              </a:rPr>
              <a:t>Internal carbon pricing</a:t>
            </a:r>
          </a:p>
        </p:txBody>
      </p:sp>
      <p:sp>
        <p:nvSpPr>
          <p:cNvPr id="19" name="TextBox 18">
            <a:extLst>
              <a:ext uri="{FF2B5EF4-FFF2-40B4-BE49-F238E27FC236}">
                <a16:creationId xmlns:a16="http://schemas.microsoft.com/office/drawing/2014/main" id="{8423F0AF-99CC-EDAE-0CA4-6DC1C533C9D3}"/>
              </a:ext>
            </a:extLst>
          </p:cNvPr>
          <p:cNvSpPr txBox="1"/>
          <p:nvPr/>
        </p:nvSpPr>
        <p:spPr>
          <a:xfrm>
            <a:off x="6382339" y="4261317"/>
            <a:ext cx="2560320" cy="1031051"/>
          </a:xfrm>
          <a:prstGeom prst="rect">
            <a:avLst/>
          </a:prstGeom>
          <a:noFill/>
        </p:spPr>
        <p:txBody>
          <a:bodyPr wrap="square" lIns="91440" rIns="0" rtlCol="0">
            <a:spAutoFit/>
          </a:bodyPr>
          <a:lstStyle>
            <a:defPPr>
              <a:defRPr lang="en-US"/>
            </a:defPPr>
            <a:lvl1pPr>
              <a:spcBef>
                <a:spcPts val="600"/>
              </a:spcBef>
              <a:spcAft>
                <a:spcPts val="600"/>
              </a:spcAft>
              <a:defRPr sz="1400" b="1"/>
            </a:lvl1pPr>
          </a:lstStyle>
          <a:p>
            <a:r>
              <a:rPr lang="en-US" sz="1700" dirty="0">
                <a:solidFill>
                  <a:schemeClr val="bg1"/>
                </a:solidFill>
              </a:rPr>
              <a:t>Decarbonization levers</a:t>
            </a:r>
          </a:p>
          <a:p>
            <a:r>
              <a:rPr lang="en-US" sz="1700" dirty="0">
                <a:solidFill>
                  <a:schemeClr val="bg1"/>
                </a:solidFill>
              </a:rPr>
              <a:t>Project tracking and implementation</a:t>
            </a:r>
          </a:p>
        </p:txBody>
      </p:sp>
      <p:sp>
        <p:nvSpPr>
          <p:cNvPr id="20" name="TextBox 19">
            <a:extLst>
              <a:ext uri="{FF2B5EF4-FFF2-40B4-BE49-F238E27FC236}">
                <a16:creationId xmlns:a16="http://schemas.microsoft.com/office/drawing/2014/main" id="{DDE08F2F-C707-7E4A-95F0-F219FB2D36DD}"/>
              </a:ext>
            </a:extLst>
          </p:cNvPr>
          <p:cNvSpPr txBox="1"/>
          <p:nvPr/>
        </p:nvSpPr>
        <p:spPr>
          <a:xfrm>
            <a:off x="9268738" y="4261317"/>
            <a:ext cx="2323233" cy="1292662"/>
          </a:xfrm>
          <a:prstGeom prst="rect">
            <a:avLst/>
          </a:prstGeom>
          <a:noFill/>
        </p:spPr>
        <p:txBody>
          <a:bodyPr wrap="square" lIns="91440" rIns="0" rtlCol="0">
            <a:spAutoFit/>
          </a:bodyPr>
          <a:lstStyle>
            <a:defPPr>
              <a:defRPr lang="en-US"/>
            </a:defPPr>
            <a:lvl1pPr>
              <a:spcBef>
                <a:spcPts val="600"/>
              </a:spcBef>
              <a:spcAft>
                <a:spcPts val="600"/>
              </a:spcAft>
              <a:defRPr sz="1400" b="1"/>
            </a:lvl1pPr>
          </a:lstStyle>
          <a:p>
            <a:r>
              <a:rPr lang="en-US" sz="1700" dirty="0">
                <a:solidFill>
                  <a:schemeClr val="bg1"/>
                </a:solidFill>
              </a:rPr>
              <a:t>Smart workflows for standard disclosures</a:t>
            </a:r>
          </a:p>
          <a:p>
            <a:r>
              <a:rPr lang="en-US" sz="1700" dirty="0">
                <a:solidFill>
                  <a:schemeClr val="bg1"/>
                </a:solidFill>
              </a:rPr>
              <a:t>External stakeholder access</a:t>
            </a:r>
          </a:p>
        </p:txBody>
      </p:sp>
      <p:sp>
        <p:nvSpPr>
          <p:cNvPr id="22" name="Rectangle 21">
            <a:extLst>
              <a:ext uri="{FF2B5EF4-FFF2-40B4-BE49-F238E27FC236}">
                <a16:creationId xmlns:a16="http://schemas.microsoft.com/office/drawing/2014/main" id="{1431D3CF-C7F1-25BF-3D3F-4D883013A923}"/>
              </a:ext>
            </a:extLst>
          </p:cNvPr>
          <p:cNvSpPr/>
          <p:nvPr/>
        </p:nvSpPr>
        <p:spPr>
          <a:xfrm>
            <a:off x="513553" y="3871227"/>
            <a:ext cx="11172460" cy="56094"/>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p>
        </p:txBody>
      </p:sp>
      <p:sp>
        <p:nvSpPr>
          <p:cNvPr id="23" name="TextBox 22">
            <a:extLst>
              <a:ext uri="{FF2B5EF4-FFF2-40B4-BE49-F238E27FC236}">
                <a16:creationId xmlns:a16="http://schemas.microsoft.com/office/drawing/2014/main" id="{BE91A8D0-9C9C-FA41-D967-F5CBE7EF534B}"/>
              </a:ext>
            </a:extLst>
          </p:cNvPr>
          <p:cNvSpPr txBox="1"/>
          <p:nvPr/>
        </p:nvSpPr>
        <p:spPr>
          <a:xfrm>
            <a:off x="5480587" y="3716144"/>
            <a:ext cx="1285592" cy="338554"/>
          </a:xfrm>
          <a:prstGeom prst="rect">
            <a:avLst/>
          </a:prstGeom>
          <a:solidFill>
            <a:srgbClr val="002856"/>
          </a:solidFill>
        </p:spPr>
        <p:txBody>
          <a:bodyPr wrap="square" lIns="0" rIns="0" rtlCol="0">
            <a:spAutoFit/>
          </a:bodyPr>
          <a:lstStyle/>
          <a:p>
            <a:pPr algn="ctr">
              <a:spcBef>
                <a:spcPts val="600"/>
              </a:spcBef>
            </a:pPr>
            <a:r>
              <a:rPr lang="en-US" sz="1600" b="1" dirty="0">
                <a:solidFill>
                  <a:schemeClr val="bg1"/>
                </a:solidFill>
              </a:rPr>
              <a:t>Advanced</a:t>
            </a:r>
          </a:p>
        </p:txBody>
      </p:sp>
      <p:sp>
        <p:nvSpPr>
          <p:cNvPr id="24" name="Freeform 393">
            <a:extLst>
              <a:ext uri="{FF2B5EF4-FFF2-40B4-BE49-F238E27FC236}">
                <a16:creationId xmlns:a16="http://schemas.microsoft.com/office/drawing/2014/main" id="{51EA16B0-88EF-FC13-C46C-DA607B26833C}"/>
              </a:ext>
            </a:extLst>
          </p:cNvPr>
          <p:cNvSpPr>
            <a:spLocks noEditPoints="1"/>
          </p:cNvSpPr>
          <p:nvPr/>
        </p:nvSpPr>
        <p:spPr bwMode="black">
          <a:xfrm>
            <a:off x="7371901" y="1229517"/>
            <a:ext cx="438150" cy="460375"/>
          </a:xfrm>
          <a:custGeom>
            <a:avLst/>
            <a:gdLst>
              <a:gd name="T0" fmla="*/ 96 w 175"/>
              <a:gd name="T1" fmla="*/ 136 h 184"/>
              <a:gd name="T2" fmla="*/ 112 w 175"/>
              <a:gd name="T3" fmla="*/ 136 h 184"/>
              <a:gd name="T4" fmla="*/ 112 w 175"/>
              <a:gd name="T5" fmla="*/ 184 h 184"/>
              <a:gd name="T6" fmla="*/ 96 w 175"/>
              <a:gd name="T7" fmla="*/ 184 h 184"/>
              <a:gd name="T8" fmla="*/ 96 w 175"/>
              <a:gd name="T9" fmla="*/ 136 h 184"/>
              <a:gd name="T10" fmla="*/ 64 w 175"/>
              <a:gd name="T11" fmla="*/ 184 h 184"/>
              <a:gd name="T12" fmla="*/ 80 w 175"/>
              <a:gd name="T13" fmla="*/ 184 h 184"/>
              <a:gd name="T14" fmla="*/ 80 w 175"/>
              <a:gd name="T15" fmla="*/ 128 h 184"/>
              <a:gd name="T16" fmla="*/ 64 w 175"/>
              <a:gd name="T17" fmla="*/ 128 h 184"/>
              <a:gd name="T18" fmla="*/ 64 w 175"/>
              <a:gd name="T19" fmla="*/ 184 h 184"/>
              <a:gd name="T20" fmla="*/ 32 w 175"/>
              <a:gd name="T21" fmla="*/ 184 h 184"/>
              <a:gd name="T22" fmla="*/ 48 w 175"/>
              <a:gd name="T23" fmla="*/ 184 h 184"/>
              <a:gd name="T24" fmla="*/ 48 w 175"/>
              <a:gd name="T25" fmla="*/ 112 h 184"/>
              <a:gd name="T26" fmla="*/ 32 w 175"/>
              <a:gd name="T27" fmla="*/ 112 h 184"/>
              <a:gd name="T28" fmla="*/ 32 w 175"/>
              <a:gd name="T29" fmla="*/ 184 h 184"/>
              <a:gd name="T30" fmla="*/ 0 w 175"/>
              <a:gd name="T31" fmla="*/ 184 h 184"/>
              <a:gd name="T32" fmla="*/ 16 w 175"/>
              <a:gd name="T33" fmla="*/ 184 h 184"/>
              <a:gd name="T34" fmla="*/ 16 w 175"/>
              <a:gd name="T35" fmla="*/ 84 h 184"/>
              <a:gd name="T36" fmla="*/ 0 w 175"/>
              <a:gd name="T37" fmla="*/ 84 h 184"/>
              <a:gd name="T38" fmla="*/ 0 w 175"/>
              <a:gd name="T39" fmla="*/ 184 h 184"/>
              <a:gd name="T40" fmla="*/ 140 w 175"/>
              <a:gd name="T41" fmla="*/ 76 h 184"/>
              <a:gd name="T42" fmla="*/ 128 w 175"/>
              <a:gd name="T43" fmla="*/ 88 h 184"/>
              <a:gd name="T44" fmla="*/ 145 w 175"/>
              <a:gd name="T45" fmla="*/ 104 h 184"/>
              <a:gd name="T46" fmla="*/ 120 w 175"/>
              <a:gd name="T47" fmla="*/ 104 h 184"/>
              <a:gd name="T48" fmla="*/ 16 w 175"/>
              <a:gd name="T49" fmla="*/ 0 h 184"/>
              <a:gd name="T50" fmla="*/ 0 w 175"/>
              <a:gd name="T51" fmla="*/ 0 h 184"/>
              <a:gd name="T52" fmla="*/ 120 w 175"/>
              <a:gd name="T53" fmla="*/ 120 h 184"/>
              <a:gd name="T54" fmla="*/ 145 w 175"/>
              <a:gd name="T55" fmla="*/ 120 h 184"/>
              <a:gd name="T56" fmla="*/ 128 w 175"/>
              <a:gd name="T57" fmla="*/ 136 h 184"/>
              <a:gd name="T58" fmla="*/ 140 w 175"/>
              <a:gd name="T59" fmla="*/ 148 h 184"/>
              <a:gd name="T60" fmla="*/ 175 w 175"/>
              <a:gd name="T61" fmla="*/ 112 h 184"/>
              <a:gd name="T62" fmla="*/ 140 w 175"/>
              <a:gd name="T63" fmla="*/ 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184">
                <a:moveTo>
                  <a:pt x="96" y="136"/>
                </a:moveTo>
                <a:cubicBezTo>
                  <a:pt x="112" y="136"/>
                  <a:pt x="112" y="136"/>
                  <a:pt x="112" y="136"/>
                </a:cubicBezTo>
                <a:cubicBezTo>
                  <a:pt x="112" y="184"/>
                  <a:pt x="112" y="184"/>
                  <a:pt x="112" y="184"/>
                </a:cubicBezTo>
                <a:cubicBezTo>
                  <a:pt x="96" y="184"/>
                  <a:pt x="96" y="184"/>
                  <a:pt x="96" y="184"/>
                </a:cubicBezTo>
                <a:lnTo>
                  <a:pt x="96" y="136"/>
                </a:lnTo>
                <a:close/>
                <a:moveTo>
                  <a:pt x="64" y="184"/>
                </a:moveTo>
                <a:cubicBezTo>
                  <a:pt x="80" y="184"/>
                  <a:pt x="80" y="184"/>
                  <a:pt x="80" y="184"/>
                </a:cubicBezTo>
                <a:cubicBezTo>
                  <a:pt x="80" y="128"/>
                  <a:pt x="80" y="128"/>
                  <a:pt x="80" y="128"/>
                </a:cubicBezTo>
                <a:cubicBezTo>
                  <a:pt x="64" y="128"/>
                  <a:pt x="64" y="128"/>
                  <a:pt x="64" y="128"/>
                </a:cubicBezTo>
                <a:lnTo>
                  <a:pt x="64" y="184"/>
                </a:lnTo>
                <a:close/>
                <a:moveTo>
                  <a:pt x="32" y="184"/>
                </a:moveTo>
                <a:cubicBezTo>
                  <a:pt x="48" y="184"/>
                  <a:pt x="48" y="184"/>
                  <a:pt x="48" y="184"/>
                </a:cubicBezTo>
                <a:cubicBezTo>
                  <a:pt x="48" y="112"/>
                  <a:pt x="48" y="112"/>
                  <a:pt x="48" y="112"/>
                </a:cubicBezTo>
                <a:cubicBezTo>
                  <a:pt x="32" y="112"/>
                  <a:pt x="32" y="112"/>
                  <a:pt x="32" y="112"/>
                </a:cubicBezTo>
                <a:lnTo>
                  <a:pt x="32" y="184"/>
                </a:lnTo>
                <a:close/>
                <a:moveTo>
                  <a:pt x="0" y="184"/>
                </a:moveTo>
                <a:cubicBezTo>
                  <a:pt x="16" y="184"/>
                  <a:pt x="16" y="184"/>
                  <a:pt x="16" y="184"/>
                </a:cubicBezTo>
                <a:cubicBezTo>
                  <a:pt x="16" y="84"/>
                  <a:pt x="16" y="84"/>
                  <a:pt x="16" y="84"/>
                </a:cubicBezTo>
                <a:cubicBezTo>
                  <a:pt x="0" y="84"/>
                  <a:pt x="0" y="84"/>
                  <a:pt x="0" y="84"/>
                </a:cubicBezTo>
                <a:lnTo>
                  <a:pt x="0" y="184"/>
                </a:lnTo>
                <a:close/>
                <a:moveTo>
                  <a:pt x="140" y="76"/>
                </a:moveTo>
                <a:cubicBezTo>
                  <a:pt x="128" y="88"/>
                  <a:pt x="128" y="88"/>
                  <a:pt x="128" y="88"/>
                </a:cubicBezTo>
                <a:cubicBezTo>
                  <a:pt x="145" y="104"/>
                  <a:pt x="145" y="104"/>
                  <a:pt x="145" y="104"/>
                </a:cubicBezTo>
                <a:cubicBezTo>
                  <a:pt x="120" y="104"/>
                  <a:pt x="120" y="104"/>
                  <a:pt x="120" y="104"/>
                </a:cubicBezTo>
                <a:cubicBezTo>
                  <a:pt x="63" y="104"/>
                  <a:pt x="16" y="57"/>
                  <a:pt x="16" y="0"/>
                </a:cubicBezTo>
                <a:cubicBezTo>
                  <a:pt x="0" y="0"/>
                  <a:pt x="0" y="0"/>
                  <a:pt x="0" y="0"/>
                </a:cubicBezTo>
                <a:cubicBezTo>
                  <a:pt x="0" y="66"/>
                  <a:pt x="54" y="120"/>
                  <a:pt x="120" y="120"/>
                </a:cubicBezTo>
                <a:cubicBezTo>
                  <a:pt x="145" y="120"/>
                  <a:pt x="145" y="120"/>
                  <a:pt x="145" y="120"/>
                </a:cubicBezTo>
                <a:cubicBezTo>
                  <a:pt x="128" y="136"/>
                  <a:pt x="128" y="136"/>
                  <a:pt x="128" y="136"/>
                </a:cubicBezTo>
                <a:cubicBezTo>
                  <a:pt x="140" y="148"/>
                  <a:pt x="140" y="148"/>
                  <a:pt x="140" y="148"/>
                </a:cubicBezTo>
                <a:cubicBezTo>
                  <a:pt x="175" y="112"/>
                  <a:pt x="175" y="112"/>
                  <a:pt x="175" y="112"/>
                </a:cubicBezTo>
                <a:lnTo>
                  <a:pt x="140" y="76"/>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381">
            <a:extLst>
              <a:ext uri="{FF2B5EF4-FFF2-40B4-BE49-F238E27FC236}">
                <a16:creationId xmlns:a16="http://schemas.microsoft.com/office/drawing/2014/main" id="{E29C91C9-D80A-59C2-8B88-7AE5E541A662}"/>
              </a:ext>
            </a:extLst>
          </p:cNvPr>
          <p:cNvSpPr>
            <a:spLocks noEditPoints="1"/>
          </p:cNvSpPr>
          <p:nvPr/>
        </p:nvSpPr>
        <p:spPr bwMode="black">
          <a:xfrm>
            <a:off x="1508852" y="1204910"/>
            <a:ext cx="400050" cy="509588"/>
          </a:xfrm>
          <a:custGeom>
            <a:avLst/>
            <a:gdLst>
              <a:gd name="T0" fmla="*/ 227 w 252"/>
              <a:gd name="T1" fmla="*/ 296 h 321"/>
              <a:gd name="T2" fmla="*/ 25 w 252"/>
              <a:gd name="T3" fmla="*/ 296 h 321"/>
              <a:gd name="T4" fmla="*/ 25 w 252"/>
              <a:gd name="T5" fmla="*/ 25 h 321"/>
              <a:gd name="T6" fmla="*/ 227 w 252"/>
              <a:gd name="T7" fmla="*/ 25 h 321"/>
              <a:gd name="T8" fmla="*/ 227 w 252"/>
              <a:gd name="T9" fmla="*/ 296 h 321"/>
              <a:gd name="T10" fmla="*/ 252 w 252"/>
              <a:gd name="T11" fmla="*/ 0 h 321"/>
              <a:gd name="T12" fmla="*/ 0 w 252"/>
              <a:gd name="T13" fmla="*/ 0 h 321"/>
              <a:gd name="T14" fmla="*/ 0 w 252"/>
              <a:gd name="T15" fmla="*/ 321 h 321"/>
              <a:gd name="T16" fmla="*/ 252 w 252"/>
              <a:gd name="T17" fmla="*/ 321 h 321"/>
              <a:gd name="T18" fmla="*/ 252 w 252"/>
              <a:gd name="T19" fmla="*/ 0 h 321"/>
              <a:gd name="T20" fmla="*/ 82 w 252"/>
              <a:gd name="T21" fmla="*/ 126 h 321"/>
              <a:gd name="T22" fmla="*/ 50 w 252"/>
              <a:gd name="T23" fmla="*/ 126 h 321"/>
              <a:gd name="T24" fmla="*/ 50 w 252"/>
              <a:gd name="T25" fmla="*/ 157 h 321"/>
              <a:gd name="T26" fmla="*/ 82 w 252"/>
              <a:gd name="T27" fmla="*/ 157 h 321"/>
              <a:gd name="T28" fmla="*/ 82 w 252"/>
              <a:gd name="T29" fmla="*/ 126 h 321"/>
              <a:gd name="T30" fmla="*/ 142 w 252"/>
              <a:gd name="T31" fmla="*/ 126 h 321"/>
              <a:gd name="T32" fmla="*/ 110 w 252"/>
              <a:gd name="T33" fmla="*/ 126 h 321"/>
              <a:gd name="T34" fmla="*/ 110 w 252"/>
              <a:gd name="T35" fmla="*/ 157 h 321"/>
              <a:gd name="T36" fmla="*/ 142 w 252"/>
              <a:gd name="T37" fmla="*/ 157 h 321"/>
              <a:gd name="T38" fmla="*/ 142 w 252"/>
              <a:gd name="T39" fmla="*/ 126 h 321"/>
              <a:gd name="T40" fmla="*/ 201 w 252"/>
              <a:gd name="T41" fmla="*/ 126 h 321"/>
              <a:gd name="T42" fmla="*/ 170 w 252"/>
              <a:gd name="T43" fmla="*/ 126 h 321"/>
              <a:gd name="T44" fmla="*/ 170 w 252"/>
              <a:gd name="T45" fmla="*/ 157 h 321"/>
              <a:gd name="T46" fmla="*/ 201 w 252"/>
              <a:gd name="T47" fmla="*/ 157 h 321"/>
              <a:gd name="T48" fmla="*/ 201 w 252"/>
              <a:gd name="T49" fmla="*/ 126 h 321"/>
              <a:gd name="T50" fmla="*/ 82 w 252"/>
              <a:gd name="T51" fmla="*/ 182 h 321"/>
              <a:gd name="T52" fmla="*/ 50 w 252"/>
              <a:gd name="T53" fmla="*/ 182 h 321"/>
              <a:gd name="T54" fmla="*/ 50 w 252"/>
              <a:gd name="T55" fmla="*/ 214 h 321"/>
              <a:gd name="T56" fmla="*/ 82 w 252"/>
              <a:gd name="T57" fmla="*/ 214 h 321"/>
              <a:gd name="T58" fmla="*/ 82 w 252"/>
              <a:gd name="T59" fmla="*/ 182 h 321"/>
              <a:gd name="T60" fmla="*/ 142 w 252"/>
              <a:gd name="T61" fmla="*/ 182 h 321"/>
              <a:gd name="T62" fmla="*/ 110 w 252"/>
              <a:gd name="T63" fmla="*/ 182 h 321"/>
              <a:gd name="T64" fmla="*/ 110 w 252"/>
              <a:gd name="T65" fmla="*/ 214 h 321"/>
              <a:gd name="T66" fmla="*/ 142 w 252"/>
              <a:gd name="T67" fmla="*/ 214 h 321"/>
              <a:gd name="T68" fmla="*/ 142 w 252"/>
              <a:gd name="T69" fmla="*/ 182 h 321"/>
              <a:gd name="T70" fmla="*/ 82 w 252"/>
              <a:gd name="T71" fmla="*/ 239 h 321"/>
              <a:gd name="T72" fmla="*/ 50 w 252"/>
              <a:gd name="T73" fmla="*/ 239 h 321"/>
              <a:gd name="T74" fmla="*/ 50 w 252"/>
              <a:gd name="T75" fmla="*/ 271 h 321"/>
              <a:gd name="T76" fmla="*/ 82 w 252"/>
              <a:gd name="T77" fmla="*/ 271 h 321"/>
              <a:gd name="T78" fmla="*/ 82 w 252"/>
              <a:gd name="T79" fmla="*/ 239 h 321"/>
              <a:gd name="T80" fmla="*/ 142 w 252"/>
              <a:gd name="T81" fmla="*/ 239 h 321"/>
              <a:gd name="T82" fmla="*/ 110 w 252"/>
              <a:gd name="T83" fmla="*/ 239 h 321"/>
              <a:gd name="T84" fmla="*/ 110 w 252"/>
              <a:gd name="T85" fmla="*/ 271 h 321"/>
              <a:gd name="T86" fmla="*/ 142 w 252"/>
              <a:gd name="T87" fmla="*/ 271 h 321"/>
              <a:gd name="T88" fmla="*/ 142 w 252"/>
              <a:gd name="T89" fmla="*/ 239 h 321"/>
              <a:gd name="T90" fmla="*/ 201 w 252"/>
              <a:gd name="T91" fmla="*/ 182 h 321"/>
              <a:gd name="T92" fmla="*/ 170 w 252"/>
              <a:gd name="T93" fmla="*/ 182 h 321"/>
              <a:gd name="T94" fmla="*/ 170 w 252"/>
              <a:gd name="T95" fmla="*/ 271 h 321"/>
              <a:gd name="T96" fmla="*/ 201 w 252"/>
              <a:gd name="T97" fmla="*/ 271 h 321"/>
              <a:gd name="T98" fmla="*/ 201 w 252"/>
              <a:gd name="T99" fmla="*/ 182 h 321"/>
              <a:gd name="T100" fmla="*/ 201 w 252"/>
              <a:gd name="T101" fmla="*/ 50 h 321"/>
              <a:gd name="T102" fmla="*/ 50 w 252"/>
              <a:gd name="T103" fmla="*/ 50 h 321"/>
              <a:gd name="T104" fmla="*/ 50 w 252"/>
              <a:gd name="T105" fmla="*/ 101 h 321"/>
              <a:gd name="T106" fmla="*/ 201 w 252"/>
              <a:gd name="T107" fmla="*/ 101 h 321"/>
              <a:gd name="T108" fmla="*/ 201 w 252"/>
              <a:gd name="T109" fmla="*/ 5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 h="321">
                <a:moveTo>
                  <a:pt x="227" y="296"/>
                </a:moveTo>
                <a:lnTo>
                  <a:pt x="25" y="296"/>
                </a:lnTo>
                <a:lnTo>
                  <a:pt x="25" y="25"/>
                </a:lnTo>
                <a:lnTo>
                  <a:pt x="227" y="25"/>
                </a:lnTo>
                <a:lnTo>
                  <a:pt x="227" y="296"/>
                </a:lnTo>
                <a:close/>
                <a:moveTo>
                  <a:pt x="252" y="0"/>
                </a:moveTo>
                <a:lnTo>
                  <a:pt x="0" y="0"/>
                </a:lnTo>
                <a:lnTo>
                  <a:pt x="0" y="321"/>
                </a:lnTo>
                <a:lnTo>
                  <a:pt x="252" y="321"/>
                </a:lnTo>
                <a:lnTo>
                  <a:pt x="252" y="0"/>
                </a:lnTo>
                <a:close/>
                <a:moveTo>
                  <a:pt x="82" y="126"/>
                </a:moveTo>
                <a:lnTo>
                  <a:pt x="50" y="126"/>
                </a:lnTo>
                <a:lnTo>
                  <a:pt x="50" y="157"/>
                </a:lnTo>
                <a:lnTo>
                  <a:pt x="82" y="157"/>
                </a:lnTo>
                <a:lnTo>
                  <a:pt x="82" y="126"/>
                </a:lnTo>
                <a:close/>
                <a:moveTo>
                  <a:pt x="142" y="126"/>
                </a:moveTo>
                <a:lnTo>
                  <a:pt x="110" y="126"/>
                </a:lnTo>
                <a:lnTo>
                  <a:pt x="110" y="157"/>
                </a:lnTo>
                <a:lnTo>
                  <a:pt x="142" y="157"/>
                </a:lnTo>
                <a:lnTo>
                  <a:pt x="142" y="126"/>
                </a:lnTo>
                <a:close/>
                <a:moveTo>
                  <a:pt x="201" y="126"/>
                </a:moveTo>
                <a:lnTo>
                  <a:pt x="170" y="126"/>
                </a:lnTo>
                <a:lnTo>
                  <a:pt x="170" y="157"/>
                </a:lnTo>
                <a:lnTo>
                  <a:pt x="201" y="157"/>
                </a:lnTo>
                <a:lnTo>
                  <a:pt x="201" y="126"/>
                </a:lnTo>
                <a:close/>
                <a:moveTo>
                  <a:pt x="82" y="182"/>
                </a:moveTo>
                <a:lnTo>
                  <a:pt x="50" y="182"/>
                </a:lnTo>
                <a:lnTo>
                  <a:pt x="50" y="214"/>
                </a:lnTo>
                <a:lnTo>
                  <a:pt x="82" y="214"/>
                </a:lnTo>
                <a:lnTo>
                  <a:pt x="82" y="182"/>
                </a:lnTo>
                <a:close/>
                <a:moveTo>
                  <a:pt x="142" y="182"/>
                </a:moveTo>
                <a:lnTo>
                  <a:pt x="110" y="182"/>
                </a:lnTo>
                <a:lnTo>
                  <a:pt x="110" y="214"/>
                </a:lnTo>
                <a:lnTo>
                  <a:pt x="142" y="214"/>
                </a:lnTo>
                <a:lnTo>
                  <a:pt x="142" y="182"/>
                </a:lnTo>
                <a:close/>
                <a:moveTo>
                  <a:pt x="82" y="239"/>
                </a:moveTo>
                <a:lnTo>
                  <a:pt x="50" y="239"/>
                </a:lnTo>
                <a:lnTo>
                  <a:pt x="50" y="271"/>
                </a:lnTo>
                <a:lnTo>
                  <a:pt x="82" y="271"/>
                </a:lnTo>
                <a:lnTo>
                  <a:pt x="82" y="239"/>
                </a:lnTo>
                <a:close/>
                <a:moveTo>
                  <a:pt x="142" y="239"/>
                </a:moveTo>
                <a:lnTo>
                  <a:pt x="110" y="239"/>
                </a:lnTo>
                <a:lnTo>
                  <a:pt x="110" y="271"/>
                </a:lnTo>
                <a:lnTo>
                  <a:pt x="142" y="271"/>
                </a:lnTo>
                <a:lnTo>
                  <a:pt x="142" y="239"/>
                </a:lnTo>
                <a:close/>
                <a:moveTo>
                  <a:pt x="201" y="182"/>
                </a:moveTo>
                <a:lnTo>
                  <a:pt x="170" y="182"/>
                </a:lnTo>
                <a:lnTo>
                  <a:pt x="170" y="271"/>
                </a:lnTo>
                <a:lnTo>
                  <a:pt x="201" y="271"/>
                </a:lnTo>
                <a:lnTo>
                  <a:pt x="201" y="182"/>
                </a:lnTo>
                <a:close/>
                <a:moveTo>
                  <a:pt x="201" y="50"/>
                </a:moveTo>
                <a:lnTo>
                  <a:pt x="50" y="50"/>
                </a:lnTo>
                <a:lnTo>
                  <a:pt x="50" y="101"/>
                </a:lnTo>
                <a:lnTo>
                  <a:pt x="201" y="101"/>
                </a:lnTo>
                <a:lnTo>
                  <a:pt x="201" y="50"/>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407">
            <a:extLst>
              <a:ext uri="{FF2B5EF4-FFF2-40B4-BE49-F238E27FC236}">
                <a16:creationId xmlns:a16="http://schemas.microsoft.com/office/drawing/2014/main" id="{FBD6A4A7-21DA-1B96-52C7-6EF41E563F7F}"/>
              </a:ext>
            </a:extLst>
          </p:cNvPr>
          <p:cNvSpPr>
            <a:spLocks noEditPoints="1"/>
          </p:cNvSpPr>
          <p:nvPr/>
        </p:nvSpPr>
        <p:spPr bwMode="black">
          <a:xfrm>
            <a:off x="10217025" y="1179510"/>
            <a:ext cx="520700" cy="560388"/>
          </a:xfrm>
          <a:custGeom>
            <a:avLst/>
            <a:gdLst>
              <a:gd name="T0" fmla="*/ 160 w 208"/>
              <a:gd name="T1" fmla="*/ 52 h 224"/>
              <a:gd name="T2" fmla="*/ 80 w 208"/>
              <a:gd name="T3" fmla="*/ 52 h 224"/>
              <a:gd name="T4" fmla="*/ 80 w 208"/>
              <a:gd name="T5" fmla="*/ 36 h 224"/>
              <a:gd name="T6" fmla="*/ 160 w 208"/>
              <a:gd name="T7" fmla="*/ 36 h 224"/>
              <a:gd name="T8" fmla="*/ 160 w 208"/>
              <a:gd name="T9" fmla="*/ 52 h 224"/>
              <a:gd name="T10" fmla="*/ 176 w 208"/>
              <a:gd name="T11" fmla="*/ 64 h 224"/>
              <a:gd name="T12" fmla="*/ 80 w 208"/>
              <a:gd name="T13" fmla="*/ 64 h 224"/>
              <a:gd name="T14" fmla="*/ 80 w 208"/>
              <a:gd name="T15" fmla="*/ 80 h 224"/>
              <a:gd name="T16" fmla="*/ 176 w 208"/>
              <a:gd name="T17" fmla="*/ 80 h 224"/>
              <a:gd name="T18" fmla="*/ 176 w 208"/>
              <a:gd name="T19" fmla="*/ 64 h 224"/>
              <a:gd name="T20" fmla="*/ 208 w 208"/>
              <a:gd name="T21" fmla="*/ 0 h 224"/>
              <a:gd name="T22" fmla="*/ 208 w 208"/>
              <a:gd name="T23" fmla="*/ 150 h 224"/>
              <a:gd name="T24" fmla="*/ 158 w 208"/>
              <a:gd name="T25" fmla="*/ 200 h 224"/>
              <a:gd name="T26" fmla="*/ 102 w 208"/>
              <a:gd name="T27" fmla="*/ 200 h 224"/>
              <a:gd name="T28" fmla="*/ 56 w 208"/>
              <a:gd name="T29" fmla="*/ 224 h 224"/>
              <a:gd name="T30" fmla="*/ 0 w 208"/>
              <a:gd name="T31" fmla="*/ 168 h 224"/>
              <a:gd name="T32" fmla="*/ 48 w 208"/>
              <a:gd name="T33" fmla="*/ 113 h 224"/>
              <a:gd name="T34" fmla="*/ 48 w 208"/>
              <a:gd name="T35" fmla="*/ 0 h 224"/>
              <a:gd name="T36" fmla="*/ 208 w 208"/>
              <a:gd name="T37" fmla="*/ 0 h 224"/>
              <a:gd name="T38" fmla="*/ 56 w 208"/>
              <a:gd name="T39" fmla="*/ 208 h 224"/>
              <a:gd name="T40" fmla="*/ 96 w 208"/>
              <a:gd name="T41" fmla="*/ 168 h 224"/>
              <a:gd name="T42" fmla="*/ 56 w 208"/>
              <a:gd name="T43" fmla="*/ 128 h 224"/>
              <a:gd name="T44" fmla="*/ 16 w 208"/>
              <a:gd name="T45" fmla="*/ 168 h 224"/>
              <a:gd name="T46" fmla="*/ 56 w 208"/>
              <a:gd name="T47" fmla="*/ 208 h 224"/>
              <a:gd name="T48" fmla="*/ 64 w 208"/>
              <a:gd name="T49" fmla="*/ 113 h 224"/>
              <a:gd name="T50" fmla="*/ 112 w 208"/>
              <a:gd name="T51" fmla="*/ 168 h 224"/>
              <a:gd name="T52" fmla="*/ 110 w 208"/>
              <a:gd name="T53" fmla="*/ 184 h 224"/>
              <a:gd name="T54" fmla="*/ 140 w 208"/>
              <a:gd name="T55" fmla="*/ 184 h 224"/>
              <a:gd name="T56" fmla="*/ 140 w 208"/>
              <a:gd name="T57" fmla="*/ 132 h 224"/>
              <a:gd name="T58" fmla="*/ 192 w 208"/>
              <a:gd name="T59" fmla="*/ 132 h 224"/>
              <a:gd name="T60" fmla="*/ 192 w 208"/>
              <a:gd name="T61" fmla="*/ 16 h 224"/>
              <a:gd name="T62" fmla="*/ 64 w 208"/>
              <a:gd name="T63" fmla="*/ 16 h 224"/>
              <a:gd name="T64" fmla="*/ 64 w 208"/>
              <a:gd name="T65" fmla="*/ 113 h 224"/>
              <a:gd name="T66" fmla="*/ 187 w 208"/>
              <a:gd name="T67" fmla="*/ 148 h 224"/>
              <a:gd name="T68" fmla="*/ 156 w 208"/>
              <a:gd name="T69" fmla="*/ 148 h 224"/>
              <a:gd name="T70" fmla="*/ 156 w 208"/>
              <a:gd name="T71" fmla="*/ 179 h 224"/>
              <a:gd name="T72" fmla="*/ 187 w 208"/>
              <a:gd name="T73" fmla="*/ 148 h 224"/>
              <a:gd name="T74" fmla="*/ 49 w 208"/>
              <a:gd name="T75" fmla="*/ 171 h 224"/>
              <a:gd name="T76" fmla="*/ 36 w 208"/>
              <a:gd name="T77" fmla="*/ 160 h 224"/>
              <a:gd name="T78" fmla="*/ 26 w 208"/>
              <a:gd name="T79" fmla="*/ 172 h 224"/>
              <a:gd name="T80" fmla="*/ 51 w 208"/>
              <a:gd name="T81" fmla="*/ 193 h 224"/>
              <a:gd name="T82" fmla="*/ 83 w 208"/>
              <a:gd name="T83" fmla="*/ 155 h 224"/>
              <a:gd name="T84" fmla="*/ 71 w 208"/>
              <a:gd name="T85" fmla="*/ 145 h 224"/>
              <a:gd name="T86" fmla="*/ 49 w 208"/>
              <a:gd name="T87" fmla="*/ 17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8" h="224">
                <a:moveTo>
                  <a:pt x="160" y="52"/>
                </a:moveTo>
                <a:cubicBezTo>
                  <a:pt x="80" y="52"/>
                  <a:pt x="80" y="52"/>
                  <a:pt x="80" y="52"/>
                </a:cubicBezTo>
                <a:cubicBezTo>
                  <a:pt x="80" y="36"/>
                  <a:pt x="80" y="36"/>
                  <a:pt x="80" y="36"/>
                </a:cubicBezTo>
                <a:cubicBezTo>
                  <a:pt x="160" y="36"/>
                  <a:pt x="160" y="36"/>
                  <a:pt x="160" y="36"/>
                </a:cubicBezTo>
                <a:lnTo>
                  <a:pt x="160" y="52"/>
                </a:lnTo>
                <a:close/>
                <a:moveTo>
                  <a:pt x="176" y="64"/>
                </a:moveTo>
                <a:cubicBezTo>
                  <a:pt x="80" y="64"/>
                  <a:pt x="80" y="64"/>
                  <a:pt x="80" y="64"/>
                </a:cubicBezTo>
                <a:cubicBezTo>
                  <a:pt x="80" y="80"/>
                  <a:pt x="80" y="80"/>
                  <a:pt x="80" y="80"/>
                </a:cubicBezTo>
                <a:cubicBezTo>
                  <a:pt x="176" y="80"/>
                  <a:pt x="176" y="80"/>
                  <a:pt x="176" y="80"/>
                </a:cubicBezTo>
                <a:lnTo>
                  <a:pt x="176" y="64"/>
                </a:lnTo>
                <a:close/>
                <a:moveTo>
                  <a:pt x="208" y="0"/>
                </a:moveTo>
                <a:cubicBezTo>
                  <a:pt x="208" y="150"/>
                  <a:pt x="208" y="150"/>
                  <a:pt x="208" y="150"/>
                </a:cubicBezTo>
                <a:cubicBezTo>
                  <a:pt x="158" y="200"/>
                  <a:pt x="158" y="200"/>
                  <a:pt x="158" y="200"/>
                </a:cubicBezTo>
                <a:cubicBezTo>
                  <a:pt x="102" y="200"/>
                  <a:pt x="102" y="200"/>
                  <a:pt x="102" y="200"/>
                </a:cubicBezTo>
                <a:cubicBezTo>
                  <a:pt x="92" y="214"/>
                  <a:pt x="75" y="224"/>
                  <a:pt x="56" y="224"/>
                </a:cubicBezTo>
                <a:cubicBezTo>
                  <a:pt x="25" y="224"/>
                  <a:pt x="0" y="199"/>
                  <a:pt x="0" y="168"/>
                </a:cubicBezTo>
                <a:cubicBezTo>
                  <a:pt x="0" y="140"/>
                  <a:pt x="21" y="117"/>
                  <a:pt x="48" y="113"/>
                </a:cubicBezTo>
                <a:cubicBezTo>
                  <a:pt x="48" y="0"/>
                  <a:pt x="48" y="0"/>
                  <a:pt x="48" y="0"/>
                </a:cubicBezTo>
                <a:lnTo>
                  <a:pt x="208" y="0"/>
                </a:lnTo>
                <a:close/>
                <a:moveTo>
                  <a:pt x="56" y="208"/>
                </a:moveTo>
                <a:cubicBezTo>
                  <a:pt x="78" y="208"/>
                  <a:pt x="96" y="190"/>
                  <a:pt x="96" y="168"/>
                </a:cubicBezTo>
                <a:cubicBezTo>
                  <a:pt x="96" y="146"/>
                  <a:pt x="78" y="128"/>
                  <a:pt x="56" y="128"/>
                </a:cubicBezTo>
                <a:cubicBezTo>
                  <a:pt x="34" y="128"/>
                  <a:pt x="16" y="146"/>
                  <a:pt x="16" y="168"/>
                </a:cubicBezTo>
                <a:cubicBezTo>
                  <a:pt x="16" y="190"/>
                  <a:pt x="34" y="208"/>
                  <a:pt x="56" y="208"/>
                </a:cubicBezTo>
                <a:moveTo>
                  <a:pt x="64" y="113"/>
                </a:moveTo>
                <a:cubicBezTo>
                  <a:pt x="91" y="117"/>
                  <a:pt x="112" y="140"/>
                  <a:pt x="112" y="168"/>
                </a:cubicBezTo>
                <a:cubicBezTo>
                  <a:pt x="112" y="174"/>
                  <a:pt x="111" y="179"/>
                  <a:pt x="110" y="184"/>
                </a:cubicBezTo>
                <a:cubicBezTo>
                  <a:pt x="140" y="184"/>
                  <a:pt x="140" y="184"/>
                  <a:pt x="140" y="184"/>
                </a:cubicBezTo>
                <a:cubicBezTo>
                  <a:pt x="140" y="132"/>
                  <a:pt x="140" y="132"/>
                  <a:pt x="140" y="132"/>
                </a:cubicBezTo>
                <a:cubicBezTo>
                  <a:pt x="192" y="132"/>
                  <a:pt x="192" y="132"/>
                  <a:pt x="192" y="132"/>
                </a:cubicBezTo>
                <a:cubicBezTo>
                  <a:pt x="192" y="16"/>
                  <a:pt x="192" y="16"/>
                  <a:pt x="192" y="16"/>
                </a:cubicBezTo>
                <a:cubicBezTo>
                  <a:pt x="64" y="16"/>
                  <a:pt x="64" y="16"/>
                  <a:pt x="64" y="16"/>
                </a:cubicBezTo>
                <a:cubicBezTo>
                  <a:pt x="64" y="113"/>
                  <a:pt x="64" y="113"/>
                  <a:pt x="64" y="113"/>
                </a:cubicBezTo>
                <a:moveTo>
                  <a:pt x="187" y="148"/>
                </a:moveTo>
                <a:cubicBezTo>
                  <a:pt x="156" y="148"/>
                  <a:pt x="156" y="148"/>
                  <a:pt x="156" y="148"/>
                </a:cubicBezTo>
                <a:cubicBezTo>
                  <a:pt x="156" y="179"/>
                  <a:pt x="156" y="179"/>
                  <a:pt x="156" y="179"/>
                </a:cubicBezTo>
                <a:lnTo>
                  <a:pt x="187" y="148"/>
                </a:lnTo>
                <a:close/>
                <a:moveTo>
                  <a:pt x="49" y="171"/>
                </a:moveTo>
                <a:cubicBezTo>
                  <a:pt x="36" y="160"/>
                  <a:pt x="36" y="160"/>
                  <a:pt x="36" y="160"/>
                </a:cubicBezTo>
                <a:cubicBezTo>
                  <a:pt x="26" y="172"/>
                  <a:pt x="26" y="172"/>
                  <a:pt x="26" y="172"/>
                </a:cubicBezTo>
                <a:cubicBezTo>
                  <a:pt x="51" y="193"/>
                  <a:pt x="51" y="193"/>
                  <a:pt x="51" y="193"/>
                </a:cubicBezTo>
                <a:cubicBezTo>
                  <a:pt x="83" y="155"/>
                  <a:pt x="83" y="155"/>
                  <a:pt x="83" y="155"/>
                </a:cubicBezTo>
                <a:cubicBezTo>
                  <a:pt x="71" y="145"/>
                  <a:pt x="71" y="145"/>
                  <a:pt x="71" y="145"/>
                </a:cubicBezTo>
                <a:lnTo>
                  <a:pt x="49" y="171"/>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522">
            <a:extLst>
              <a:ext uri="{FF2B5EF4-FFF2-40B4-BE49-F238E27FC236}">
                <a16:creationId xmlns:a16="http://schemas.microsoft.com/office/drawing/2014/main" id="{7D1945EF-CE45-011F-5B4B-EFB2A0651C64}"/>
              </a:ext>
            </a:extLst>
          </p:cNvPr>
          <p:cNvSpPr>
            <a:spLocks noEditPoints="1"/>
          </p:cNvSpPr>
          <p:nvPr/>
        </p:nvSpPr>
        <p:spPr bwMode="black">
          <a:xfrm>
            <a:off x="4409729" y="1206498"/>
            <a:ext cx="425450" cy="506413"/>
          </a:xfrm>
          <a:custGeom>
            <a:avLst/>
            <a:gdLst>
              <a:gd name="T0" fmla="*/ 18 w 170"/>
              <a:gd name="T1" fmla="*/ 53 h 203"/>
              <a:gd name="T2" fmla="*/ 33 w 170"/>
              <a:gd name="T3" fmla="*/ 39 h 203"/>
              <a:gd name="T4" fmla="*/ 18 w 170"/>
              <a:gd name="T5" fmla="*/ 25 h 203"/>
              <a:gd name="T6" fmla="*/ 30 w 170"/>
              <a:gd name="T7" fmla="*/ 13 h 203"/>
              <a:gd name="T8" fmla="*/ 44 w 170"/>
              <a:gd name="T9" fmla="*/ 28 h 203"/>
              <a:gd name="T10" fmla="*/ 58 w 170"/>
              <a:gd name="T11" fmla="*/ 13 h 203"/>
              <a:gd name="T12" fmla="*/ 70 w 170"/>
              <a:gd name="T13" fmla="*/ 25 h 203"/>
              <a:gd name="T14" fmla="*/ 55 w 170"/>
              <a:gd name="T15" fmla="*/ 39 h 203"/>
              <a:gd name="T16" fmla="*/ 70 w 170"/>
              <a:gd name="T17" fmla="*/ 53 h 203"/>
              <a:gd name="T18" fmla="*/ 58 w 170"/>
              <a:gd name="T19" fmla="*/ 65 h 203"/>
              <a:gd name="T20" fmla="*/ 44 w 170"/>
              <a:gd name="T21" fmla="*/ 50 h 203"/>
              <a:gd name="T22" fmla="*/ 30 w 170"/>
              <a:gd name="T23" fmla="*/ 65 h 203"/>
              <a:gd name="T24" fmla="*/ 18 w 170"/>
              <a:gd name="T25" fmla="*/ 53 h 203"/>
              <a:gd name="T26" fmla="*/ 170 w 170"/>
              <a:gd name="T27" fmla="*/ 33 h 203"/>
              <a:gd name="T28" fmla="*/ 158 w 170"/>
              <a:gd name="T29" fmla="*/ 45 h 203"/>
              <a:gd name="T30" fmla="*/ 144 w 170"/>
              <a:gd name="T31" fmla="*/ 30 h 203"/>
              <a:gd name="T32" fmla="*/ 144 w 170"/>
              <a:gd name="T33" fmla="*/ 109 h 203"/>
              <a:gd name="T34" fmla="*/ 36 w 170"/>
              <a:gd name="T35" fmla="*/ 109 h 203"/>
              <a:gd name="T36" fmla="*/ 36 w 170"/>
              <a:gd name="T37" fmla="*/ 148 h 203"/>
              <a:gd name="T38" fmla="*/ 56 w 170"/>
              <a:gd name="T39" fmla="*/ 175 h 203"/>
              <a:gd name="T40" fmla="*/ 28 w 170"/>
              <a:gd name="T41" fmla="*/ 203 h 203"/>
              <a:gd name="T42" fmla="*/ 0 w 170"/>
              <a:gd name="T43" fmla="*/ 175 h 203"/>
              <a:gd name="T44" fmla="*/ 20 w 170"/>
              <a:gd name="T45" fmla="*/ 148 h 203"/>
              <a:gd name="T46" fmla="*/ 19 w 170"/>
              <a:gd name="T47" fmla="*/ 93 h 203"/>
              <a:gd name="T48" fmla="*/ 128 w 170"/>
              <a:gd name="T49" fmla="*/ 93 h 203"/>
              <a:gd name="T50" fmla="*/ 128 w 170"/>
              <a:gd name="T51" fmla="*/ 31 h 203"/>
              <a:gd name="T52" fmla="*/ 114 w 170"/>
              <a:gd name="T53" fmla="*/ 45 h 203"/>
              <a:gd name="T54" fmla="*/ 103 w 170"/>
              <a:gd name="T55" fmla="*/ 33 h 203"/>
              <a:gd name="T56" fmla="*/ 136 w 170"/>
              <a:gd name="T57" fmla="*/ 0 h 203"/>
              <a:gd name="T58" fmla="*/ 170 w 170"/>
              <a:gd name="T59" fmla="*/ 33 h 203"/>
              <a:gd name="T60" fmla="*/ 40 w 170"/>
              <a:gd name="T61" fmla="*/ 175 h 203"/>
              <a:gd name="T62" fmla="*/ 28 w 170"/>
              <a:gd name="T63" fmla="*/ 163 h 203"/>
              <a:gd name="T64" fmla="*/ 16 w 170"/>
              <a:gd name="T65" fmla="*/ 175 h 203"/>
              <a:gd name="T66" fmla="*/ 28 w 170"/>
              <a:gd name="T67" fmla="*/ 187 h 203"/>
              <a:gd name="T68" fmla="*/ 40 w 170"/>
              <a:gd name="T69" fmla="*/ 175 h 203"/>
              <a:gd name="T70" fmla="*/ 135 w 170"/>
              <a:gd name="T71" fmla="*/ 141 h 203"/>
              <a:gd name="T72" fmla="*/ 120 w 170"/>
              <a:gd name="T73" fmla="*/ 156 h 203"/>
              <a:gd name="T74" fmla="*/ 106 w 170"/>
              <a:gd name="T75" fmla="*/ 141 h 203"/>
              <a:gd name="T76" fmla="*/ 95 w 170"/>
              <a:gd name="T77" fmla="*/ 153 h 203"/>
              <a:gd name="T78" fmla="*/ 109 w 170"/>
              <a:gd name="T79" fmla="*/ 167 h 203"/>
              <a:gd name="T80" fmla="*/ 95 w 170"/>
              <a:gd name="T81" fmla="*/ 181 h 203"/>
              <a:gd name="T82" fmla="*/ 106 w 170"/>
              <a:gd name="T83" fmla="*/ 193 h 203"/>
              <a:gd name="T84" fmla="*/ 120 w 170"/>
              <a:gd name="T85" fmla="*/ 178 h 203"/>
              <a:gd name="T86" fmla="*/ 135 w 170"/>
              <a:gd name="T87" fmla="*/ 193 h 203"/>
              <a:gd name="T88" fmla="*/ 146 w 170"/>
              <a:gd name="T89" fmla="*/ 181 h 203"/>
              <a:gd name="T90" fmla="*/ 132 w 170"/>
              <a:gd name="T91" fmla="*/ 167 h 203"/>
              <a:gd name="T92" fmla="*/ 146 w 170"/>
              <a:gd name="T93" fmla="*/ 153 h 203"/>
              <a:gd name="T94" fmla="*/ 135 w 170"/>
              <a:gd name="T95" fmla="*/ 14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203">
                <a:moveTo>
                  <a:pt x="18" y="53"/>
                </a:moveTo>
                <a:cubicBezTo>
                  <a:pt x="33" y="39"/>
                  <a:pt x="33" y="39"/>
                  <a:pt x="33" y="39"/>
                </a:cubicBezTo>
                <a:cubicBezTo>
                  <a:pt x="18" y="25"/>
                  <a:pt x="18" y="25"/>
                  <a:pt x="18" y="25"/>
                </a:cubicBezTo>
                <a:cubicBezTo>
                  <a:pt x="30" y="13"/>
                  <a:pt x="30" y="13"/>
                  <a:pt x="30" y="13"/>
                </a:cubicBezTo>
                <a:cubicBezTo>
                  <a:pt x="44" y="28"/>
                  <a:pt x="44" y="28"/>
                  <a:pt x="44" y="28"/>
                </a:cubicBezTo>
                <a:cubicBezTo>
                  <a:pt x="58" y="13"/>
                  <a:pt x="58" y="13"/>
                  <a:pt x="58" y="13"/>
                </a:cubicBezTo>
                <a:cubicBezTo>
                  <a:pt x="70" y="25"/>
                  <a:pt x="70" y="25"/>
                  <a:pt x="70" y="25"/>
                </a:cubicBezTo>
                <a:cubicBezTo>
                  <a:pt x="55" y="39"/>
                  <a:pt x="55" y="39"/>
                  <a:pt x="55" y="39"/>
                </a:cubicBezTo>
                <a:cubicBezTo>
                  <a:pt x="70" y="53"/>
                  <a:pt x="70" y="53"/>
                  <a:pt x="70" y="53"/>
                </a:cubicBezTo>
                <a:cubicBezTo>
                  <a:pt x="58" y="65"/>
                  <a:pt x="58" y="65"/>
                  <a:pt x="58" y="65"/>
                </a:cubicBezTo>
                <a:cubicBezTo>
                  <a:pt x="44" y="50"/>
                  <a:pt x="44" y="50"/>
                  <a:pt x="44" y="50"/>
                </a:cubicBezTo>
                <a:cubicBezTo>
                  <a:pt x="30" y="65"/>
                  <a:pt x="30" y="65"/>
                  <a:pt x="30" y="65"/>
                </a:cubicBezTo>
                <a:lnTo>
                  <a:pt x="18" y="53"/>
                </a:lnTo>
                <a:close/>
                <a:moveTo>
                  <a:pt x="170" y="33"/>
                </a:moveTo>
                <a:cubicBezTo>
                  <a:pt x="158" y="45"/>
                  <a:pt x="158" y="45"/>
                  <a:pt x="158" y="45"/>
                </a:cubicBezTo>
                <a:cubicBezTo>
                  <a:pt x="144" y="30"/>
                  <a:pt x="144" y="30"/>
                  <a:pt x="144" y="30"/>
                </a:cubicBezTo>
                <a:cubicBezTo>
                  <a:pt x="144" y="109"/>
                  <a:pt x="144" y="109"/>
                  <a:pt x="144" y="109"/>
                </a:cubicBezTo>
                <a:cubicBezTo>
                  <a:pt x="36" y="109"/>
                  <a:pt x="36" y="109"/>
                  <a:pt x="36" y="109"/>
                </a:cubicBezTo>
                <a:cubicBezTo>
                  <a:pt x="36" y="148"/>
                  <a:pt x="36" y="148"/>
                  <a:pt x="36" y="148"/>
                </a:cubicBezTo>
                <a:cubicBezTo>
                  <a:pt x="48" y="152"/>
                  <a:pt x="56" y="162"/>
                  <a:pt x="56" y="175"/>
                </a:cubicBezTo>
                <a:cubicBezTo>
                  <a:pt x="56" y="190"/>
                  <a:pt x="43" y="203"/>
                  <a:pt x="28" y="203"/>
                </a:cubicBezTo>
                <a:cubicBezTo>
                  <a:pt x="13" y="203"/>
                  <a:pt x="0" y="190"/>
                  <a:pt x="0" y="175"/>
                </a:cubicBezTo>
                <a:cubicBezTo>
                  <a:pt x="0" y="162"/>
                  <a:pt x="8" y="152"/>
                  <a:pt x="20" y="148"/>
                </a:cubicBezTo>
                <a:cubicBezTo>
                  <a:pt x="19" y="93"/>
                  <a:pt x="19" y="93"/>
                  <a:pt x="19" y="93"/>
                </a:cubicBezTo>
                <a:cubicBezTo>
                  <a:pt x="128" y="93"/>
                  <a:pt x="128" y="93"/>
                  <a:pt x="128" y="93"/>
                </a:cubicBezTo>
                <a:cubicBezTo>
                  <a:pt x="128" y="31"/>
                  <a:pt x="128" y="31"/>
                  <a:pt x="128" y="31"/>
                </a:cubicBezTo>
                <a:cubicBezTo>
                  <a:pt x="114" y="45"/>
                  <a:pt x="114" y="45"/>
                  <a:pt x="114" y="45"/>
                </a:cubicBezTo>
                <a:cubicBezTo>
                  <a:pt x="103" y="33"/>
                  <a:pt x="103" y="33"/>
                  <a:pt x="103" y="33"/>
                </a:cubicBezTo>
                <a:cubicBezTo>
                  <a:pt x="136" y="0"/>
                  <a:pt x="136" y="0"/>
                  <a:pt x="136" y="0"/>
                </a:cubicBezTo>
                <a:lnTo>
                  <a:pt x="170" y="33"/>
                </a:lnTo>
                <a:close/>
                <a:moveTo>
                  <a:pt x="40" y="175"/>
                </a:moveTo>
                <a:cubicBezTo>
                  <a:pt x="40" y="168"/>
                  <a:pt x="35" y="163"/>
                  <a:pt x="28" y="163"/>
                </a:cubicBezTo>
                <a:cubicBezTo>
                  <a:pt x="21" y="163"/>
                  <a:pt x="16" y="168"/>
                  <a:pt x="16" y="175"/>
                </a:cubicBezTo>
                <a:cubicBezTo>
                  <a:pt x="16" y="182"/>
                  <a:pt x="21" y="187"/>
                  <a:pt x="28" y="187"/>
                </a:cubicBezTo>
                <a:cubicBezTo>
                  <a:pt x="35" y="187"/>
                  <a:pt x="40" y="182"/>
                  <a:pt x="40" y="175"/>
                </a:cubicBezTo>
                <a:moveTo>
                  <a:pt x="135" y="141"/>
                </a:moveTo>
                <a:cubicBezTo>
                  <a:pt x="120" y="156"/>
                  <a:pt x="120" y="156"/>
                  <a:pt x="120" y="156"/>
                </a:cubicBezTo>
                <a:cubicBezTo>
                  <a:pt x="106" y="141"/>
                  <a:pt x="106" y="141"/>
                  <a:pt x="106" y="141"/>
                </a:cubicBezTo>
                <a:cubicBezTo>
                  <a:pt x="95" y="153"/>
                  <a:pt x="95" y="153"/>
                  <a:pt x="95" y="153"/>
                </a:cubicBezTo>
                <a:cubicBezTo>
                  <a:pt x="109" y="167"/>
                  <a:pt x="109" y="167"/>
                  <a:pt x="109" y="167"/>
                </a:cubicBezTo>
                <a:cubicBezTo>
                  <a:pt x="95" y="181"/>
                  <a:pt x="95" y="181"/>
                  <a:pt x="95" y="181"/>
                </a:cubicBezTo>
                <a:cubicBezTo>
                  <a:pt x="106" y="193"/>
                  <a:pt x="106" y="193"/>
                  <a:pt x="106" y="193"/>
                </a:cubicBezTo>
                <a:cubicBezTo>
                  <a:pt x="120" y="178"/>
                  <a:pt x="120" y="178"/>
                  <a:pt x="120" y="178"/>
                </a:cubicBezTo>
                <a:cubicBezTo>
                  <a:pt x="135" y="193"/>
                  <a:pt x="135" y="193"/>
                  <a:pt x="135" y="193"/>
                </a:cubicBezTo>
                <a:cubicBezTo>
                  <a:pt x="146" y="181"/>
                  <a:pt x="146" y="181"/>
                  <a:pt x="146" y="181"/>
                </a:cubicBezTo>
                <a:cubicBezTo>
                  <a:pt x="132" y="167"/>
                  <a:pt x="132" y="167"/>
                  <a:pt x="132" y="167"/>
                </a:cubicBezTo>
                <a:cubicBezTo>
                  <a:pt x="146" y="153"/>
                  <a:pt x="146" y="153"/>
                  <a:pt x="146" y="153"/>
                </a:cubicBezTo>
                <a:lnTo>
                  <a:pt x="135" y="141"/>
                </a:lnTo>
                <a:close/>
              </a:path>
            </a:pathLst>
          </a:custGeom>
          <a:solidFill>
            <a:srgbClr val="002856"/>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Isosceles Triangle 27">
            <a:extLst>
              <a:ext uri="{FF2B5EF4-FFF2-40B4-BE49-F238E27FC236}">
                <a16:creationId xmlns:a16="http://schemas.microsoft.com/office/drawing/2014/main" id="{EBF5ABD3-8B6B-E7E3-E7F9-13C501D850C8}"/>
              </a:ext>
            </a:extLst>
          </p:cNvPr>
          <p:cNvSpPr/>
          <p:nvPr/>
        </p:nvSpPr>
        <p:spPr>
          <a:xfrm flipV="1">
            <a:off x="5737621" y="4054698"/>
            <a:ext cx="771525" cy="148980"/>
          </a:xfrm>
          <a:prstGeom prst="triangle">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1860712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p:bldP spid="18" grpId="0"/>
      <p:bldP spid="19" grpId="0"/>
      <p:bldP spid="20" grpId="0"/>
      <p:bldP spid="22" grpId="0" animBg="1"/>
      <p:bldP spid="23" grpId="0" animBg="1"/>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39F16-0A4D-BBF9-635E-90459FECA4A0}"/>
              </a:ext>
            </a:extLst>
          </p:cNvPr>
          <p:cNvSpPr>
            <a:spLocks noGrp="1"/>
          </p:cNvSpPr>
          <p:nvPr>
            <p:ph type="title"/>
          </p:nvPr>
        </p:nvSpPr>
        <p:spPr>
          <a:xfrm>
            <a:off x="1994219" y="2508937"/>
            <a:ext cx="8858838" cy="443198"/>
          </a:xfrm>
        </p:spPr>
        <p:txBody>
          <a:bodyPr/>
          <a:lstStyle/>
          <a:p>
            <a:r>
              <a:rPr lang="en-US" dirty="0"/>
              <a:t>There’s </a:t>
            </a:r>
            <a:r>
              <a:rPr lang="en-US" dirty="0">
                <a:solidFill>
                  <a:srgbClr val="FF540A"/>
                </a:solidFill>
              </a:rPr>
              <a:t>no silver bullet.</a:t>
            </a:r>
            <a:r>
              <a:rPr lang="en-US" dirty="0"/>
              <a:t> 55% expect to use </a:t>
            </a:r>
            <a:r>
              <a:rPr lang="en-US" dirty="0">
                <a:solidFill>
                  <a:srgbClr val="FF540A"/>
                </a:solidFill>
              </a:rPr>
              <a:t>two or more tools </a:t>
            </a:r>
            <a:r>
              <a:rPr lang="en-US" dirty="0"/>
              <a:t>to manage their Scope 3 program</a:t>
            </a:r>
          </a:p>
        </p:txBody>
      </p:sp>
      <p:sp>
        <p:nvSpPr>
          <p:cNvPr id="3" name="TextBox 2">
            <a:extLst>
              <a:ext uri="{FF2B5EF4-FFF2-40B4-BE49-F238E27FC236}">
                <a16:creationId xmlns:a16="http://schemas.microsoft.com/office/drawing/2014/main" id="{341D91D2-8B3E-868D-459B-BEF75C5779E0}"/>
              </a:ext>
            </a:extLst>
          </p:cNvPr>
          <p:cNvSpPr txBox="1"/>
          <p:nvPr/>
        </p:nvSpPr>
        <p:spPr>
          <a:xfrm>
            <a:off x="476918" y="5925673"/>
            <a:ext cx="7315200" cy="323165"/>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2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rPr>
              <a:t>Source: Scope 3 Peer Group. Digital Solutions Landscape and Adoption Survey, Dec 2023</a:t>
            </a:r>
          </a:p>
        </p:txBody>
      </p:sp>
    </p:spTree>
    <p:extLst>
      <p:ext uri="{BB962C8B-B14F-4D97-AF65-F5344CB8AC3E}">
        <p14:creationId xmlns:p14="http://schemas.microsoft.com/office/powerpoint/2010/main" val="4205052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8724B-D716-D09A-F901-BCF10D599FD2}"/>
              </a:ext>
            </a:extLst>
          </p:cNvPr>
          <p:cNvSpPr>
            <a:spLocks noGrp="1"/>
          </p:cNvSpPr>
          <p:nvPr>
            <p:ph type="title"/>
          </p:nvPr>
        </p:nvSpPr>
        <p:spPr>
          <a:xfrm>
            <a:off x="2057400" y="1527048"/>
            <a:ext cx="4910328" cy="2935224"/>
          </a:xfrm>
        </p:spPr>
        <p:txBody>
          <a:bodyPr wrap="square" anchor="ctr">
            <a:normAutofit/>
          </a:bodyPr>
          <a:lstStyle/>
          <a:p>
            <a:r>
              <a:rPr lang="en-US" dirty="0"/>
              <a:t>How to Choose a Digital Solution for Scope 3</a:t>
            </a:r>
          </a:p>
        </p:txBody>
      </p:sp>
    </p:spTree>
    <p:extLst>
      <p:ext uri="{BB962C8B-B14F-4D97-AF65-F5344CB8AC3E}">
        <p14:creationId xmlns:p14="http://schemas.microsoft.com/office/powerpoint/2010/main" val="1700372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9" name="TextBox 8">
            <a:extLst>
              <a:ext uri="{FF2B5EF4-FFF2-40B4-BE49-F238E27FC236}">
                <a16:creationId xmlns:a16="http://schemas.microsoft.com/office/drawing/2014/main" id="{61616596-E12F-1B9C-0E6E-F409873425CB}"/>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a:ea typeface="+mn-ea"/>
                <a:cs typeface="+mn-cs"/>
              </a:rPr>
              <a:t>Define Outcomes and Capabilities</a:t>
            </a:r>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a:ea typeface="+mn-ea"/>
                <a:cs typeface="+mn-cs"/>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dirty="0">
                <a:solidFill>
                  <a:srgbClr val="002856"/>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69517"/>
            <a:ext cx="352467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a:ea typeface="+mn-ea"/>
                <a:cs typeface="+mn-cs"/>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a:ea typeface="+mn-ea"/>
                <a:cs typeface="+mn-cs"/>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a:ea typeface="+mn-ea"/>
                <a:cs typeface="+mn-cs"/>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8" name="Circle">
            <a:extLst>
              <a:ext uri="{FF2B5EF4-FFF2-40B4-BE49-F238E27FC236}">
                <a16:creationId xmlns:a16="http://schemas.microsoft.com/office/drawing/2014/main" id="{7D83B7EE-C009-2540-245A-A4DC3DC823C0}"/>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0" name="Circle">
            <a:extLst>
              <a:ext uri="{FF2B5EF4-FFF2-40B4-BE49-F238E27FC236}">
                <a16:creationId xmlns:a16="http://schemas.microsoft.com/office/drawing/2014/main" id="{7318FB26-C7C9-D6C2-AEF7-52BF521298C9}"/>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ea typeface="+mn-ea"/>
              <a:cs typeface="+mn-cs"/>
              <a:sym typeface="Helvetica Neue Medium"/>
            </a:endParaRPr>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002856"/>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Black"/>
                <a:ea typeface="+mn-ea"/>
                <a:cs typeface="+mn-cs"/>
              </a:rPr>
              <a:t>1</a:t>
            </a:r>
            <a:endParaRPr kumimoji="0" sz="3200" b="1" i="0" u="none" strike="noStrike" kern="1200" cap="none" spc="0" normalizeH="0" baseline="0" noProof="0" dirty="0">
              <a:ln>
                <a:noFill/>
              </a:ln>
              <a:solidFill>
                <a:srgbClr val="FFFFFF"/>
              </a:solidFill>
              <a:effectLst/>
              <a:uLnTx/>
              <a:uFillTx/>
              <a:latin typeface="Arial Black"/>
              <a:ea typeface="+mn-ea"/>
              <a:cs typeface="+mn-cs"/>
            </a:endParaRPr>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002856"/>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Black"/>
                <a:ea typeface="+mn-ea"/>
                <a:cs typeface="+mn-cs"/>
              </a:rPr>
              <a:t>2</a:t>
            </a:r>
            <a:endParaRPr kumimoji="0" sz="3200" b="1" i="0" u="none" strike="noStrike" kern="1200" cap="none" spc="0" normalizeH="0" baseline="0" noProof="0" dirty="0">
              <a:ln>
                <a:noFill/>
              </a:ln>
              <a:solidFill>
                <a:srgbClr val="FFFFFF"/>
              </a:solidFill>
              <a:effectLst/>
              <a:uLnTx/>
              <a:uFillTx/>
              <a:latin typeface="Arial Black"/>
              <a:ea typeface="+mn-ea"/>
              <a:cs typeface="+mn-cs"/>
            </a:endParaRPr>
          </a:p>
        </p:txBody>
      </p:sp>
      <p:sp>
        <p:nvSpPr>
          <p:cNvPr id="23" name="Circle">
            <a:extLst>
              <a:ext uri="{FF2B5EF4-FFF2-40B4-BE49-F238E27FC236}">
                <a16:creationId xmlns:a16="http://schemas.microsoft.com/office/drawing/2014/main" id="{B3EB49D2-A1DC-305B-4744-29B755986195}"/>
              </a:ext>
            </a:extLst>
          </p:cNvPr>
          <p:cNvSpPr/>
          <p:nvPr/>
        </p:nvSpPr>
        <p:spPr>
          <a:xfrm>
            <a:off x="735044" y="2981099"/>
            <a:ext cx="603036" cy="603036"/>
          </a:xfrm>
          <a:prstGeom prst="ellipse">
            <a:avLst/>
          </a:prstGeom>
          <a:solidFill>
            <a:srgbClr val="002856"/>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Black"/>
                <a:ea typeface="+mn-ea"/>
                <a:cs typeface="+mn-cs"/>
              </a:rPr>
              <a:t>3</a:t>
            </a:r>
            <a:endParaRPr kumimoji="0" sz="3200" b="1" i="0" u="none" strike="noStrike" kern="1200" cap="none" spc="0" normalizeH="0" baseline="0" noProof="0" dirty="0">
              <a:ln>
                <a:noFill/>
              </a:ln>
              <a:solidFill>
                <a:srgbClr val="FFFFFF"/>
              </a:solidFill>
              <a:effectLst/>
              <a:uLnTx/>
              <a:uFillTx/>
              <a:latin typeface="Arial Black"/>
              <a:ea typeface="+mn-ea"/>
              <a:cs typeface="+mn-cs"/>
            </a:endParaRPr>
          </a:p>
        </p:txBody>
      </p:sp>
      <p:sp>
        <p:nvSpPr>
          <p:cNvPr id="25" name="Circle">
            <a:extLst>
              <a:ext uri="{FF2B5EF4-FFF2-40B4-BE49-F238E27FC236}">
                <a16:creationId xmlns:a16="http://schemas.microsoft.com/office/drawing/2014/main" id="{5E0A185D-D504-BC8D-9556-D2BE9AB89857}"/>
              </a:ext>
            </a:extLst>
          </p:cNvPr>
          <p:cNvSpPr/>
          <p:nvPr/>
        </p:nvSpPr>
        <p:spPr>
          <a:xfrm>
            <a:off x="751038" y="3752665"/>
            <a:ext cx="603036" cy="603036"/>
          </a:xfrm>
          <a:prstGeom prst="ellipse">
            <a:avLst/>
          </a:prstGeom>
          <a:solidFill>
            <a:srgbClr val="002856"/>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Black"/>
                <a:ea typeface="+mn-ea"/>
                <a:cs typeface="+mn-cs"/>
              </a:rPr>
              <a:t>4</a:t>
            </a:r>
            <a:endParaRPr kumimoji="0" sz="3200" b="1" i="0" u="none" strike="noStrike" kern="1200" cap="none" spc="0" normalizeH="0" baseline="0" noProof="0" dirty="0">
              <a:ln>
                <a:noFill/>
              </a:ln>
              <a:solidFill>
                <a:srgbClr val="FFFFFF"/>
              </a:solidFill>
              <a:effectLst/>
              <a:uLnTx/>
              <a:uFillTx/>
              <a:latin typeface="Arial Black"/>
              <a:ea typeface="+mn-ea"/>
              <a:cs typeface="+mn-cs"/>
            </a:endParaRPr>
          </a:p>
        </p:txBody>
      </p:sp>
      <p:sp>
        <p:nvSpPr>
          <p:cNvPr id="26" name="Circle">
            <a:extLst>
              <a:ext uri="{FF2B5EF4-FFF2-40B4-BE49-F238E27FC236}">
                <a16:creationId xmlns:a16="http://schemas.microsoft.com/office/drawing/2014/main" id="{C3BE439B-EE32-5771-25FE-8E0795144AC0}"/>
              </a:ext>
            </a:extLst>
          </p:cNvPr>
          <p:cNvSpPr/>
          <p:nvPr/>
        </p:nvSpPr>
        <p:spPr>
          <a:xfrm>
            <a:off x="735412" y="4589677"/>
            <a:ext cx="603036" cy="603036"/>
          </a:xfrm>
          <a:prstGeom prst="ellipse">
            <a:avLst/>
          </a:prstGeom>
          <a:solidFill>
            <a:srgbClr val="002856"/>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Black"/>
                <a:ea typeface="+mn-ea"/>
                <a:cs typeface="+mn-cs"/>
              </a:rPr>
              <a:t>5</a:t>
            </a:r>
            <a:endParaRPr kumimoji="0" sz="3200" b="1" i="0" u="none" strike="noStrike" kern="1200" cap="none" spc="0" normalizeH="0" baseline="0" noProof="0" dirty="0">
              <a:ln>
                <a:noFill/>
              </a:ln>
              <a:solidFill>
                <a:srgbClr val="FFFFFF"/>
              </a:solidFill>
              <a:effectLst/>
              <a:uLnTx/>
              <a:uFillTx/>
              <a:latin typeface="Arial Black"/>
              <a:ea typeface="+mn-ea"/>
              <a:cs typeface="+mn-cs"/>
            </a:endParaRPr>
          </a:p>
        </p:txBody>
      </p:sp>
      <p:sp>
        <p:nvSpPr>
          <p:cNvPr id="27" name="Circle">
            <a:extLst>
              <a:ext uri="{FF2B5EF4-FFF2-40B4-BE49-F238E27FC236}">
                <a16:creationId xmlns:a16="http://schemas.microsoft.com/office/drawing/2014/main" id="{D4434466-2143-411C-4F70-76E6B2D1E672}"/>
              </a:ext>
            </a:extLst>
          </p:cNvPr>
          <p:cNvSpPr/>
          <p:nvPr/>
        </p:nvSpPr>
        <p:spPr>
          <a:xfrm>
            <a:off x="757909" y="5391583"/>
            <a:ext cx="603036" cy="603036"/>
          </a:xfrm>
          <a:prstGeom prst="ellipse">
            <a:avLst/>
          </a:prstGeom>
          <a:solidFill>
            <a:srgbClr val="002856"/>
          </a:solidFill>
          <a:ln w="12700">
            <a:miter lim="400000"/>
          </a:ln>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en-US" sz="3200" b="1" i="0" u="none" strike="noStrike" kern="1200" cap="none" spc="0" normalizeH="0" baseline="0" noProof="0" dirty="0">
                <a:ln>
                  <a:noFill/>
                </a:ln>
                <a:solidFill>
                  <a:srgbClr val="FFFFFF"/>
                </a:solidFill>
                <a:effectLst/>
                <a:uLnTx/>
                <a:uFillTx/>
                <a:latin typeface="Arial Black"/>
                <a:ea typeface="+mn-ea"/>
                <a:cs typeface="+mn-cs"/>
                <a:sym typeface="Helvetica Neue Medium"/>
              </a:rPr>
              <a:t>6</a:t>
            </a:r>
            <a:endParaRPr kumimoji="0" sz="3200" b="1" i="0" u="none" strike="noStrike" kern="1200" cap="none" spc="0" normalizeH="0" baseline="0" noProof="0" dirty="0">
              <a:ln>
                <a:noFill/>
              </a:ln>
              <a:solidFill>
                <a:srgbClr val="FFFFFF"/>
              </a:solidFill>
              <a:effectLst/>
              <a:uLnTx/>
              <a:uFillTx/>
              <a:latin typeface="Arial Black"/>
              <a:ea typeface="+mn-ea"/>
              <a:cs typeface="+mn-cs"/>
              <a:sym typeface="Helvetica Neue Medium"/>
            </a:endParaRPr>
          </a:p>
        </p:txBody>
      </p:sp>
      <p:sp>
        <p:nvSpPr>
          <p:cNvPr id="28" name="Rectangle 27">
            <a:extLst>
              <a:ext uri="{FF2B5EF4-FFF2-40B4-BE49-F238E27FC236}">
                <a16:creationId xmlns:a16="http://schemas.microsoft.com/office/drawing/2014/main" id="{B5817132-6959-3927-EEC6-93E70D5DB1D9}"/>
              </a:ext>
            </a:extLst>
          </p:cNvPr>
          <p:cNvSpPr/>
          <p:nvPr/>
        </p:nvSpPr>
        <p:spPr>
          <a:xfrm>
            <a:off x="1549735" y="2981099"/>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3E3A37A-F7FA-BCDD-7601-016E4BA34A65}"/>
              </a:ext>
            </a:extLst>
          </p:cNvPr>
          <p:cNvSpPr/>
          <p:nvPr/>
        </p:nvSpPr>
        <p:spPr>
          <a:xfrm>
            <a:off x="1549735" y="3762003"/>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7FE31539-4B0F-8DDF-88E8-1E4C4F80DCC8}"/>
              </a:ext>
            </a:extLst>
          </p:cNvPr>
          <p:cNvSpPr/>
          <p:nvPr/>
        </p:nvSpPr>
        <p:spPr>
          <a:xfrm>
            <a:off x="1549735" y="458967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89015BB3-566C-7306-6A4E-639D033DA82C}"/>
              </a:ext>
            </a:extLst>
          </p:cNvPr>
          <p:cNvSpPr/>
          <p:nvPr/>
        </p:nvSpPr>
        <p:spPr>
          <a:xfrm>
            <a:off x="1549735" y="5389359"/>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latin typeface="Arial"/>
            </a:endParaRPr>
          </a:p>
        </p:txBody>
      </p:sp>
    </p:spTree>
    <p:extLst>
      <p:ext uri="{BB962C8B-B14F-4D97-AF65-F5344CB8AC3E}">
        <p14:creationId xmlns:p14="http://schemas.microsoft.com/office/powerpoint/2010/main" val="1010549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941D37F-B874-FE46-8B89-41D705C01596}"/>
              </a:ext>
            </a:extLst>
          </p:cNvPr>
          <p:cNvSpPr/>
          <p:nvPr/>
        </p:nvSpPr>
        <p:spPr>
          <a:xfrm>
            <a:off x="1555071" y="1427707"/>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sz="1800" dirty="0">
                <a:solidFill>
                  <a:srgbClr val="BDBDBD"/>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sz="1800" dirty="0">
                <a:solidFill>
                  <a:srgbClr val="BDBDBD"/>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71617"/>
            <a:ext cx="3524672" cy="369332"/>
          </a:xfrm>
          <a:prstGeom prst="rect">
            <a:avLst/>
          </a:prstGeom>
          <a:noFill/>
        </p:spPr>
        <p:txBody>
          <a:bodyPr wrap="square">
            <a:spAutoFit/>
          </a:bodyPr>
          <a:lstStyle/>
          <a:p>
            <a:pPr>
              <a:spcAft>
                <a:spcPts val="600"/>
              </a:spcAft>
            </a:pPr>
            <a:r>
              <a:rPr lang="en-US" sz="1800" dirty="0">
                <a:solidFill>
                  <a:srgbClr val="BDBDBD"/>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sz="1800" dirty="0">
                <a:solidFill>
                  <a:srgbClr val="BDBDBD"/>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sz="1800" dirty="0">
                <a:solidFill>
                  <a:srgbClr val="BDBDBD"/>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8" name="Circle">
            <a:extLst>
              <a:ext uri="{FF2B5EF4-FFF2-40B4-BE49-F238E27FC236}">
                <a16:creationId xmlns:a16="http://schemas.microsoft.com/office/drawing/2014/main" id="{7D83B7EE-C009-2540-245A-A4DC3DC823C0}"/>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Circle">
            <a:extLst>
              <a:ext uri="{FF2B5EF4-FFF2-40B4-BE49-F238E27FC236}">
                <a16:creationId xmlns:a16="http://schemas.microsoft.com/office/drawing/2014/main" id="{7318FB26-C7C9-D6C2-AEF7-52BF521298C9}"/>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002856"/>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1</a:t>
            </a:r>
            <a:endParaRPr sz="3200" b="1" dirty="0">
              <a:latin typeface="+mj-lt"/>
            </a:endParaRPr>
          </a:p>
        </p:txBody>
      </p:sp>
      <p:sp>
        <p:nvSpPr>
          <p:cNvPr id="14" name="TextBox 13">
            <a:extLst>
              <a:ext uri="{FF2B5EF4-FFF2-40B4-BE49-F238E27FC236}">
                <a16:creationId xmlns:a16="http://schemas.microsoft.com/office/drawing/2014/main" id="{A234FCB4-0B9D-1E3B-536B-9ABE66121AC0}"/>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856"/>
                </a:solidFill>
                <a:effectLst/>
                <a:uLnTx/>
                <a:uFillTx/>
                <a:latin typeface="Arial Black"/>
                <a:ea typeface="+mn-ea"/>
                <a:cs typeface="+mn-cs"/>
              </a:rPr>
              <a:t>Define Outcomes and Capabilities</a:t>
            </a:r>
          </a:p>
        </p:txBody>
      </p:sp>
    </p:spTree>
    <p:extLst>
      <p:ext uri="{BB962C8B-B14F-4D97-AF65-F5344CB8AC3E}">
        <p14:creationId xmlns:p14="http://schemas.microsoft.com/office/powerpoint/2010/main" val="3717809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artner Logo">
            <a:extLst>
              <a:ext uri="{FF2B5EF4-FFF2-40B4-BE49-F238E27FC236}">
                <a16:creationId xmlns:a16="http://schemas.microsoft.com/office/drawing/2014/main" id="{C18E414B-EF18-A731-945D-F5458E305F21}"/>
              </a:ext>
            </a:extLst>
          </p:cNvPr>
          <p:cNvPicPr>
            <a:picLocks noChangeAspect="1"/>
          </p:cNvPicPr>
          <p:nvPr/>
        </p:nvPicPr>
        <p:blipFill>
          <a:blip r:embed="rId3"/>
          <a:srcRect/>
          <a:stretch/>
        </p:blipFill>
        <p:spPr bwMode="black">
          <a:xfrm>
            <a:off x="10452995" y="6241725"/>
            <a:ext cx="1280216" cy="292315"/>
          </a:xfrm>
          <a:prstGeom prst="rect">
            <a:avLst/>
          </a:prstGeom>
        </p:spPr>
      </p:pic>
      <p:sp>
        <p:nvSpPr>
          <p:cNvPr id="6" name="Rectangle 5">
            <a:extLst>
              <a:ext uri="{FF2B5EF4-FFF2-40B4-BE49-F238E27FC236}">
                <a16:creationId xmlns:a16="http://schemas.microsoft.com/office/drawing/2014/main" id="{98FE62ED-21AB-CA0C-6727-FCC0B81A012F}"/>
              </a:ext>
            </a:extLst>
          </p:cNvPr>
          <p:cNvSpPr/>
          <p:nvPr/>
        </p:nvSpPr>
        <p:spPr>
          <a:xfrm>
            <a:off x="7981949" y="0"/>
            <a:ext cx="4210052" cy="68579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B3F4582F-020A-7504-962E-3213037F37E0}"/>
              </a:ext>
            </a:extLst>
          </p:cNvPr>
          <p:cNvSpPr txBox="1"/>
          <p:nvPr/>
        </p:nvSpPr>
        <p:spPr>
          <a:xfrm>
            <a:off x="-4" y="1973550"/>
            <a:ext cx="3533774" cy="584775"/>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856"/>
                </a:solidFill>
                <a:effectLst/>
                <a:uLnTx/>
                <a:uFillTx/>
                <a:latin typeface="Arial Black"/>
                <a:ea typeface="+mn-ea"/>
                <a:cs typeface="+mn-cs"/>
              </a:rPr>
              <a:t>Ambition</a:t>
            </a:r>
          </a:p>
        </p:txBody>
      </p:sp>
      <p:sp>
        <p:nvSpPr>
          <p:cNvPr id="8" name="TextBox 7">
            <a:extLst>
              <a:ext uri="{FF2B5EF4-FFF2-40B4-BE49-F238E27FC236}">
                <a16:creationId xmlns:a16="http://schemas.microsoft.com/office/drawing/2014/main" id="{762EBDA2-637F-7872-3C2C-1312E7F39862}"/>
              </a:ext>
            </a:extLst>
          </p:cNvPr>
          <p:cNvSpPr txBox="1"/>
          <p:nvPr/>
        </p:nvSpPr>
        <p:spPr>
          <a:xfrm>
            <a:off x="-2" y="4086225"/>
            <a:ext cx="3533772" cy="584775"/>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856"/>
                </a:solidFill>
                <a:effectLst/>
                <a:uLnTx/>
                <a:uFillTx/>
                <a:latin typeface="Arial Black"/>
                <a:ea typeface="+mn-ea"/>
                <a:cs typeface="+mn-cs"/>
              </a:rPr>
              <a:t>Oversight</a:t>
            </a:r>
          </a:p>
        </p:txBody>
      </p:sp>
      <p:sp>
        <p:nvSpPr>
          <p:cNvPr id="9" name="TextBox 8">
            <a:extLst>
              <a:ext uri="{FF2B5EF4-FFF2-40B4-BE49-F238E27FC236}">
                <a16:creationId xmlns:a16="http://schemas.microsoft.com/office/drawing/2014/main" id="{201B142C-2419-9A10-1899-D7C3A46F633D}"/>
              </a:ext>
            </a:extLst>
          </p:cNvPr>
          <p:cNvSpPr txBox="1"/>
          <p:nvPr/>
        </p:nvSpPr>
        <p:spPr>
          <a:xfrm>
            <a:off x="-4" y="2987100"/>
            <a:ext cx="3533774" cy="584775"/>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856"/>
                </a:solidFill>
                <a:effectLst/>
                <a:uLnTx/>
                <a:uFillTx/>
                <a:latin typeface="Arial Black"/>
                <a:ea typeface="+mn-ea"/>
                <a:cs typeface="+mn-cs"/>
              </a:rPr>
              <a:t>&amp;</a:t>
            </a:r>
          </a:p>
        </p:txBody>
      </p:sp>
      <p:sp>
        <p:nvSpPr>
          <p:cNvPr id="10" name="AutoShape 2" descr="Supplier Collaboration &amp; Innovation">
            <a:extLst>
              <a:ext uri="{FF2B5EF4-FFF2-40B4-BE49-F238E27FC236}">
                <a16:creationId xmlns:a16="http://schemas.microsoft.com/office/drawing/2014/main" id="{87E3BCF1-9AD4-AEDB-CFF3-AB6DD525E4E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Isosceles Triangle 1">
            <a:extLst>
              <a:ext uri="{FF2B5EF4-FFF2-40B4-BE49-F238E27FC236}">
                <a16:creationId xmlns:a16="http://schemas.microsoft.com/office/drawing/2014/main" id="{D7AE76A6-A4C6-6F2B-C81A-92727CE96223}"/>
              </a:ext>
            </a:extLst>
          </p:cNvPr>
          <p:cNvSpPr/>
          <p:nvPr/>
        </p:nvSpPr>
        <p:spPr>
          <a:xfrm rot="16200000">
            <a:off x="2786066" y="1662108"/>
            <a:ext cx="6857991" cy="3533772"/>
          </a:xfrm>
          <a:prstGeom prst="triangle">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4100F636-C63C-750A-5163-5BE0696A76BD}"/>
              </a:ext>
            </a:extLst>
          </p:cNvPr>
          <p:cNvSpPr txBox="1"/>
          <p:nvPr/>
        </p:nvSpPr>
        <p:spPr>
          <a:xfrm>
            <a:off x="1090613" y="2847594"/>
            <a:ext cx="3533774" cy="70788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Black"/>
                <a:ea typeface="+mn-ea"/>
                <a:cs typeface="+mn-cs"/>
              </a:rPr>
              <a:t>Ambition</a:t>
            </a:r>
          </a:p>
        </p:txBody>
      </p:sp>
      <p:sp>
        <p:nvSpPr>
          <p:cNvPr id="11" name="TextBox 10">
            <a:extLst>
              <a:ext uri="{FF2B5EF4-FFF2-40B4-BE49-F238E27FC236}">
                <a16:creationId xmlns:a16="http://schemas.microsoft.com/office/drawing/2014/main" id="{DCA453F9-9D9F-640A-0E7A-C628158DA4E5}"/>
              </a:ext>
            </a:extLst>
          </p:cNvPr>
          <p:cNvSpPr txBox="1"/>
          <p:nvPr/>
        </p:nvSpPr>
        <p:spPr>
          <a:xfrm>
            <a:off x="7534275" y="2847594"/>
            <a:ext cx="3533772" cy="707886"/>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2856"/>
                </a:solidFill>
                <a:effectLst/>
                <a:uLnTx/>
                <a:uFillTx/>
                <a:latin typeface="Arial Black"/>
                <a:ea typeface="+mn-ea"/>
                <a:cs typeface="+mn-cs"/>
              </a:rPr>
              <a:t>Oversight</a:t>
            </a:r>
          </a:p>
        </p:txBody>
      </p:sp>
      <p:sp>
        <p:nvSpPr>
          <p:cNvPr id="13" name="TextBox 12">
            <a:extLst>
              <a:ext uri="{FF2B5EF4-FFF2-40B4-BE49-F238E27FC236}">
                <a16:creationId xmlns:a16="http://schemas.microsoft.com/office/drawing/2014/main" id="{640A7369-57E8-9C8B-0520-3C4F07903891}"/>
              </a:ext>
            </a:extLst>
          </p:cNvPr>
          <p:cNvSpPr txBox="1"/>
          <p:nvPr/>
        </p:nvSpPr>
        <p:spPr>
          <a:xfrm>
            <a:off x="762000" y="3437079"/>
            <a:ext cx="4191000" cy="461665"/>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9AD7"/>
                </a:solidFill>
                <a:effectLst/>
                <a:uLnTx/>
                <a:uFillTx/>
                <a:latin typeface="Arial Black"/>
                <a:ea typeface="+mn-ea"/>
                <a:cs typeface="+mn-cs"/>
              </a:rPr>
              <a:t>What success looks like</a:t>
            </a:r>
          </a:p>
        </p:txBody>
      </p:sp>
      <p:sp>
        <p:nvSpPr>
          <p:cNvPr id="16" name="TextBox 15">
            <a:extLst>
              <a:ext uri="{FF2B5EF4-FFF2-40B4-BE49-F238E27FC236}">
                <a16:creationId xmlns:a16="http://schemas.microsoft.com/office/drawing/2014/main" id="{A5A3F718-D14F-1BA8-8E27-1A4B557081BE}"/>
              </a:ext>
            </a:extLst>
          </p:cNvPr>
          <p:cNvSpPr txBox="1"/>
          <p:nvPr/>
        </p:nvSpPr>
        <p:spPr>
          <a:xfrm>
            <a:off x="7205661" y="3439311"/>
            <a:ext cx="4191000" cy="461665"/>
          </a:xfrm>
          <a:prstGeom prst="rect">
            <a:avLst/>
          </a:prstGeom>
          <a:no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9AD7"/>
                </a:solidFill>
                <a:effectLst/>
                <a:uLnTx/>
                <a:uFillTx/>
                <a:latin typeface="Arial Black"/>
                <a:ea typeface="+mn-ea"/>
                <a:cs typeface="+mn-cs"/>
              </a:rPr>
              <a:t>Desired level of control</a:t>
            </a:r>
          </a:p>
        </p:txBody>
      </p:sp>
    </p:spTree>
    <p:extLst>
      <p:ext uri="{BB962C8B-B14F-4D97-AF65-F5344CB8AC3E}">
        <p14:creationId xmlns:p14="http://schemas.microsoft.com/office/powerpoint/2010/main" val="4284317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F919D8-AC4C-A4ED-89FF-28B21F816217}"/>
              </a:ext>
            </a:extLst>
          </p:cNvPr>
          <p:cNvSpPr/>
          <p:nvPr/>
        </p:nvSpPr>
        <p:spPr>
          <a:xfrm>
            <a:off x="2913753" y="1373066"/>
            <a:ext cx="2031142" cy="607731"/>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easure</a:t>
            </a:r>
          </a:p>
        </p:txBody>
      </p:sp>
      <p:sp>
        <p:nvSpPr>
          <p:cNvPr id="8" name="Rectangle 7">
            <a:extLst>
              <a:ext uri="{FF2B5EF4-FFF2-40B4-BE49-F238E27FC236}">
                <a16:creationId xmlns:a16="http://schemas.microsoft.com/office/drawing/2014/main" id="{23AE276B-41A7-500F-6904-EDF07CE23A8B}"/>
              </a:ext>
            </a:extLst>
          </p:cNvPr>
          <p:cNvSpPr/>
          <p:nvPr/>
        </p:nvSpPr>
        <p:spPr>
          <a:xfrm>
            <a:off x="5123382" y="1370586"/>
            <a:ext cx="2031142" cy="613984"/>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Manage</a:t>
            </a:r>
          </a:p>
        </p:txBody>
      </p:sp>
      <p:sp>
        <p:nvSpPr>
          <p:cNvPr id="9" name="Rectangle 8">
            <a:extLst>
              <a:ext uri="{FF2B5EF4-FFF2-40B4-BE49-F238E27FC236}">
                <a16:creationId xmlns:a16="http://schemas.microsoft.com/office/drawing/2014/main" id="{C34A9134-F84D-CDCD-A733-AB3BAAB2A73F}"/>
              </a:ext>
            </a:extLst>
          </p:cNvPr>
          <p:cNvSpPr/>
          <p:nvPr/>
        </p:nvSpPr>
        <p:spPr>
          <a:xfrm>
            <a:off x="7332104" y="1370586"/>
            <a:ext cx="2031142" cy="613985"/>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Reduce</a:t>
            </a:r>
          </a:p>
        </p:txBody>
      </p:sp>
      <p:sp>
        <p:nvSpPr>
          <p:cNvPr id="10" name="Rectangle 9">
            <a:extLst>
              <a:ext uri="{FF2B5EF4-FFF2-40B4-BE49-F238E27FC236}">
                <a16:creationId xmlns:a16="http://schemas.microsoft.com/office/drawing/2014/main" id="{E4DBC36C-1CDD-903F-6965-324D0C04741D}"/>
              </a:ext>
            </a:extLst>
          </p:cNvPr>
          <p:cNvSpPr/>
          <p:nvPr/>
        </p:nvSpPr>
        <p:spPr>
          <a:xfrm>
            <a:off x="9541733" y="1370586"/>
            <a:ext cx="2031142" cy="613985"/>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Report</a:t>
            </a:r>
          </a:p>
        </p:txBody>
      </p:sp>
      <p:sp>
        <p:nvSpPr>
          <p:cNvPr id="2" name="Title 1">
            <a:extLst>
              <a:ext uri="{FF2B5EF4-FFF2-40B4-BE49-F238E27FC236}">
                <a16:creationId xmlns:a16="http://schemas.microsoft.com/office/drawing/2014/main" id="{88138E29-4719-2A7C-29FC-D78BD89A7E06}"/>
              </a:ext>
            </a:extLst>
          </p:cNvPr>
          <p:cNvSpPr>
            <a:spLocks noGrp="1"/>
          </p:cNvSpPr>
          <p:nvPr>
            <p:ph type="title"/>
          </p:nvPr>
        </p:nvSpPr>
        <p:spPr/>
        <p:txBody>
          <a:bodyPr/>
          <a:lstStyle/>
          <a:p>
            <a:r>
              <a:rPr lang="en-US" dirty="0"/>
              <a:t>Capabilities Will Vary Across Solution Types</a:t>
            </a:r>
          </a:p>
        </p:txBody>
      </p:sp>
      <p:sp>
        <p:nvSpPr>
          <p:cNvPr id="3" name="Rectangle 2">
            <a:extLst>
              <a:ext uri="{FF2B5EF4-FFF2-40B4-BE49-F238E27FC236}">
                <a16:creationId xmlns:a16="http://schemas.microsoft.com/office/drawing/2014/main" id="{CAAB2107-FCFB-9AF6-7954-57E8AB00A90F}"/>
              </a:ext>
            </a:extLst>
          </p:cNvPr>
          <p:cNvSpPr/>
          <p:nvPr/>
        </p:nvSpPr>
        <p:spPr>
          <a:xfrm>
            <a:off x="457200" y="2126577"/>
            <a:ext cx="22098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002856"/>
                </a:solidFill>
              </a:rPr>
              <a:t>Carbon Management Solutions</a:t>
            </a:r>
          </a:p>
        </p:txBody>
      </p:sp>
      <p:sp>
        <p:nvSpPr>
          <p:cNvPr id="4" name="Rectangle 3">
            <a:extLst>
              <a:ext uri="{FF2B5EF4-FFF2-40B4-BE49-F238E27FC236}">
                <a16:creationId xmlns:a16="http://schemas.microsoft.com/office/drawing/2014/main" id="{89B8CB92-9995-AC9A-3A34-AD5F918D8176}"/>
              </a:ext>
            </a:extLst>
          </p:cNvPr>
          <p:cNvSpPr/>
          <p:nvPr/>
        </p:nvSpPr>
        <p:spPr>
          <a:xfrm>
            <a:off x="457200" y="3162759"/>
            <a:ext cx="22098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002856"/>
                </a:solidFill>
              </a:rPr>
              <a:t>ESG Solutions</a:t>
            </a:r>
          </a:p>
        </p:txBody>
      </p:sp>
      <p:sp>
        <p:nvSpPr>
          <p:cNvPr id="5" name="Rectangle 4">
            <a:extLst>
              <a:ext uri="{FF2B5EF4-FFF2-40B4-BE49-F238E27FC236}">
                <a16:creationId xmlns:a16="http://schemas.microsoft.com/office/drawing/2014/main" id="{C0148C6C-9634-7029-EA94-257D97C1E387}"/>
              </a:ext>
            </a:extLst>
          </p:cNvPr>
          <p:cNvSpPr/>
          <p:nvPr/>
        </p:nvSpPr>
        <p:spPr>
          <a:xfrm>
            <a:off x="457200" y="4190496"/>
            <a:ext cx="22098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002856"/>
                </a:solidFill>
              </a:rPr>
              <a:t>Legacy Solution Suites</a:t>
            </a:r>
          </a:p>
        </p:txBody>
      </p:sp>
      <p:sp>
        <p:nvSpPr>
          <p:cNvPr id="6" name="Rectangle 5">
            <a:extLst>
              <a:ext uri="{FF2B5EF4-FFF2-40B4-BE49-F238E27FC236}">
                <a16:creationId xmlns:a16="http://schemas.microsoft.com/office/drawing/2014/main" id="{39721A42-C360-8825-36E6-115315EF1420}"/>
              </a:ext>
            </a:extLst>
          </p:cNvPr>
          <p:cNvSpPr/>
          <p:nvPr/>
        </p:nvSpPr>
        <p:spPr>
          <a:xfrm>
            <a:off x="457200" y="5206906"/>
            <a:ext cx="22098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rgbClr val="002856"/>
                </a:solidFill>
              </a:rPr>
              <a:t>Specialty Applications</a:t>
            </a:r>
          </a:p>
        </p:txBody>
      </p:sp>
      <p:sp>
        <p:nvSpPr>
          <p:cNvPr id="11" name="Freeform 393">
            <a:extLst>
              <a:ext uri="{FF2B5EF4-FFF2-40B4-BE49-F238E27FC236}">
                <a16:creationId xmlns:a16="http://schemas.microsoft.com/office/drawing/2014/main" id="{A4436F70-35C5-7091-CF28-A7F513DA90EA}"/>
              </a:ext>
            </a:extLst>
          </p:cNvPr>
          <p:cNvSpPr>
            <a:spLocks noEditPoints="1"/>
          </p:cNvSpPr>
          <p:nvPr/>
        </p:nvSpPr>
        <p:spPr bwMode="black">
          <a:xfrm>
            <a:off x="7481638" y="1534663"/>
            <a:ext cx="273066" cy="286917"/>
          </a:xfrm>
          <a:custGeom>
            <a:avLst/>
            <a:gdLst>
              <a:gd name="T0" fmla="*/ 96 w 175"/>
              <a:gd name="T1" fmla="*/ 136 h 184"/>
              <a:gd name="T2" fmla="*/ 112 w 175"/>
              <a:gd name="T3" fmla="*/ 136 h 184"/>
              <a:gd name="T4" fmla="*/ 112 w 175"/>
              <a:gd name="T5" fmla="*/ 184 h 184"/>
              <a:gd name="T6" fmla="*/ 96 w 175"/>
              <a:gd name="T7" fmla="*/ 184 h 184"/>
              <a:gd name="T8" fmla="*/ 96 w 175"/>
              <a:gd name="T9" fmla="*/ 136 h 184"/>
              <a:gd name="T10" fmla="*/ 64 w 175"/>
              <a:gd name="T11" fmla="*/ 184 h 184"/>
              <a:gd name="T12" fmla="*/ 80 w 175"/>
              <a:gd name="T13" fmla="*/ 184 h 184"/>
              <a:gd name="T14" fmla="*/ 80 w 175"/>
              <a:gd name="T15" fmla="*/ 128 h 184"/>
              <a:gd name="T16" fmla="*/ 64 w 175"/>
              <a:gd name="T17" fmla="*/ 128 h 184"/>
              <a:gd name="T18" fmla="*/ 64 w 175"/>
              <a:gd name="T19" fmla="*/ 184 h 184"/>
              <a:gd name="T20" fmla="*/ 32 w 175"/>
              <a:gd name="T21" fmla="*/ 184 h 184"/>
              <a:gd name="T22" fmla="*/ 48 w 175"/>
              <a:gd name="T23" fmla="*/ 184 h 184"/>
              <a:gd name="T24" fmla="*/ 48 w 175"/>
              <a:gd name="T25" fmla="*/ 112 h 184"/>
              <a:gd name="T26" fmla="*/ 32 w 175"/>
              <a:gd name="T27" fmla="*/ 112 h 184"/>
              <a:gd name="T28" fmla="*/ 32 w 175"/>
              <a:gd name="T29" fmla="*/ 184 h 184"/>
              <a:gd name="T30" fmla="*/ 0 w 175"/>
              <a:gd name="T31" fmla="*/ 184 h 184"/>
              <a:gd name="T32" fmla="*/ 16 w 175"/>
              <a:gd name="T33" fmla="*/ 184 h 184"/>
              <a:gd name="T34" fmla="*/ 16 w 175"/>
              <a:gd name="T35" fmla="*/ 84 h 184"/>
              <a:gd name="T36" fmla="*/ 0 w 175"/>
              <a:gd name="T37" fmla="*/ 84 h 184"/>
              <a:gd name="T38" fmla="*/ 0 w 175"/>
              <a:gd name="T39" fmla="*/ 184 h 184"/>
              <a:gd name="T40" fmla="*/ 140 w 175"/>
              <a:gd name="T41" fmla="*/ 76 h 184"/>
              <a:gd name="T42" fmla="*/ 128 w 175"/>
              <a:gd name="T43" fmla="*/ 88 h 184"/>
              <a:gd name="T44" fmla="*/ 145 w 175"/>
              <a:gd name="T45" fmla="*/ 104 h 184"/>
              <a:gd name="T46" fmla="*/ 120 w 175"/>
              <a:gd name="T47" fmla="*/ 104 h 184"/>
              <a:gd name="T48" fmla="*/ 16 w 175"/>
              <a:gd name="T49" fmla="*/ 0 h 184"/>
              <a:gd name="T50" fmla="*/ 0 w 175"/>
              <a:gd name="T51" fmla="*/ 0 h 184"/>
              <a:gd name="T52" fmla="*/ 120 w 175"/>
              <a:gd name="T53" fmla="*/ 120 h 184"/>
              <a:gd name="T54" fmla="*/ 145 w 175"/>
              <a:gd name="T55" fmla="*/ 120 h 184"/>
              <a:gd name="T56" fmla="*/ 128 w 175"/>
              <a:gd name="T57" fmla="*/ 136 h 184"/>
              <a:gd name="T58" fmla="*/ 140 w 175"/>
              <a:gd name="T59" fmla="*/ 148 h 184"/>
              <a:gd name="T60" fmla="*/ 175 w 175"/>
              <a:gd name="T61" fmla="*/ 112 h 184"/>
              <a:gd name="T62" fmla="*/ 140 w 175"/>
              <a:gd name="T63" fmla="*/ 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184">
                <a:moveTo>
                  <a:pt x="96" y="136"/>
                </a:moveTo>
                <a:cubicBezTo>
                  <a:pt x="112" y="136"/>
                  <a:pt x="112" y="136"/>
                  <a:pt x="112" y="136"/>
                </a:cubicBezTo>
                <a:cubicBezTo>
                  <a:pt x="112" y="184"/>
                  <a:pt x="112" y="184"/>
                  <a:pt x="112" y="184"/>
                </a:cubicBezTo>
                <a:cubicBezTo>
                  <a:pt x="96" y="184"/>
                  <a:pt x="96" y="184"/>
                  <a:pt x="96" y="184"/>
                </a:cubicBezTo>
                <a:lnTo>
                  <a:pt x="96" y="136"/>
                </a:lnTo>
                <a:close/>
                <a:moveTo>
                  <a:pt x="64" y="184"/>
                </a:moveTo>
                <a:cubicBezTo>
                  <a:pt x="80" y="184"/>
                  <a:pt x="80" y="184"/>
                  <a:pt x="80" y="184"/>
                </a:cubicBezTo>
                <a:cubicBezTo>
                  <a:pt x="80" y="128"/>
                  <a:pt x="80" y="128"/>
                  <a:pt x="80" y="128"/>
                </a:cubicBezTo>
                <a:cubicBezTo>
                  <a:pt x="64" y="128"/>
                  <a:pt x="64" y="128"/>
                  <a:pt x="64" y="128"/>
                </a:cubicBezTo>
                <a:lnTo>
                  <a:pt x="64" y="184"/>
                </a:lnTo>
                <a:close/>
                <a:moveTo>
                  <a:pt x="32" y="184"/>
                </a:moveTo>
                <a:cubicBezTo>
                  <a:pt x="48" y="184"/>
                  <a:pt x="48" y="184"/>
                  <a:pt x="48" y="184"/>
                </a:cubicBezTo>
                <a:cubicBezTo>
                  <a:pt x="48" y="112"/>
                  <a:pt x="48" y="112"/>
                  <a:pt x="48" y="112"/>
                </a:cubicBezTo>
                <a:cubicBezTo>
                  <a:pt x="32" y="112"/>
                  <a:pt x="32" y="112"/>
                  <a:pt x="32" y="112"/>
                </a:cubicBezTo>
                <a:lnTo>
                  <a:pt x="32" y="184"/>
                </a:lnTo>
                <a:close/>
                <a:moveTo>
                  <a:pt x="0" y="184"/>
                </a:moveTo>
                <a:cubicBezTo>
                  <a:pt x="16" y="184"/>
                  <a:pt x="16" y="184"/>
                  <a:pt x="16" y="184"/>
                </a:cubicBezTo>
                <a:cubicBezTo>
                  <a:pt x="16" y="84"/>
                  <a:pt x="16" y="84"/>
                  <a:pt x="16" y="84"/>
                </a:cubicBezTo>
                <a:cubicBezTo>
                  <a:pt x="0" y="84"/>
                  <a:pt x="0" y="84"/>
                  <a:pt x="0" y="84"/>
                </a:cubicBezTo>
                <a:lnTo>
                  <a:pt x="0" y="184"/>
                </a:lnTo>
                <a:close/>
                <a:moveTo>
                  <a:pt x="140" y="76"/>
                </a:moveTo>
                <a:cubicBezTo>
                  <a:pt x="128" y="88"/>
                  <a:pt x="128" y="88"/>
                  <a:pt x="128" y="88"/>
                </a:cubicBezTo>
                <a:cubicBezTo>
                  <a:pt x="145" y="104"/>
                  <a:pt x="145" y="104"/>
                  <a:pt x="145" y="104"/>
                </a:cubicBezTo>
                <a:cubicBezTo>
                  <a:pt x="120" y="104"/>
                  <a:pt x="120" y="104"/>
                  <a:pt x="120" y="104"/>
                </a:cubicBezTo>
                <a:cubicBezTo>
                  <a:pt x="63" y="104"/>
                  <a:pt x="16" y="57"/>
                  <a:pt x="16" y="0"/>
                </a:cubicBezTo>
                <a:cubicBezTo>
                  <a:pt x="0" y="0"/>
                  <a:pt x="0" y="0"/>
                  <a:pt x="0" y="0"/>
                </a:cubicBezTo>
                <a:cubicBezTo>
                  <a:pt x="0" y="66"/>
                  <a:pt x="54" y="120"/>
                  <a:pt x="120" y="120"/>
                </a:cubicBezTo>
                <a:cubicBezTo>
                  <a:pt x="145" y="120"/>
                  <a:pt x="145" y="120"/>
                  <a:pt x="145" y="120"/>
                </a:cubicBezTo>
                <a:cubicBezTo>
                  <a:pt x="128" y="136"/>
                  <a:pt x="128" y="136"/>
                  <a:pt x="128" y="136"/>
                </a:cubicBezTo>
                <a:cubicBezTo>
                  <a:pt x="140" y="148"/>
                  <a:pt x="140" y="148"/>
                  <a:pt x="140" y="148"/>
                </a:cubicBezTo>
                <a:cubicBezTo>
                  <a:pt x="175" y="112"/>
                  <a:pt x="175" y="112"/>
                  <a:pt x="175" y="112"/>
                </a:cubicBezTo>
                <a:lnTo>
                  <a:pt x="140" y="7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81">
            <a:extLst>
              <a:ext uri="{FF2B5EF4-FFF2-40B4-BE49-F238E27FC236}">
                <a16:creationId xmlns:a16="http://schemas.microsoft.com/office/drawing/2014/main" id="{BAE84627-ED41-450D-B161-6D90EB08F479}"/>
              </a:ext>
            </a:extLst>
          </p:cNvPr>
          <p:cNvSpPr>
            <a:spLocks noEditPoints="1"/>
          </p:cNvSpPr>
          <p:nvPr/>
        </p:nvSpPr>
        <p:spPr bwMode="black">
          <a:xfrm>
            <a:off x="3058278" y="1518137"/>
            <a:ext cx="249321" cy="317588"/>
          </a:xfrm>
          <a:custGeom>
            <a:avLst/>
            <a:gdLst>
              <a:gd name="T0" fmla="*/ 227 w 252"/>
              <a:gd name="T1" fmla="*/ 296 h 321"/>
              <a:gd name="T2" fmla="*/ 25 w 252"/>
              <a:gd name="T3" fmla="*/ 296 h 321"/>
              <a:gd name="T4" fmla="*/ 25 w 252"/>
              <a:gd name="T5" fmla="*/ 25 h 321"/>
              <a:gd name="T6" fmla="*/ 227 w 252"/>
              <a:gd name="T7" fmla="*/ 25 h 321"/>
              <a:gd name="T8" fmla="*/ 227 w 252"/>
              <a:gd name="T9" fmla="*/ 296 h 321"/>
              <a:gd name="T10" fmla="*/ 252 w 252"/>
              <a:gd name="T11" fmla="*/ 0 h 321"/>
              <a:gd name="T12" fmla="*/ 0 w 252"/>
              <a:gd name="T13" fmla="*/ 0 h 321"/>
              <a:gd name="T14" fmla="*/ 0 w 252"/>
              <a:gd name="T15" fmla="*/ 321 h 321"/>
              <a:gd name="T16" fmla="*/ 252 w 252"/>
              <a:gd name="T17" fmla="*/ 321 h 321"/>
              <a:gd name="T18" fmla="*/ 252 w 252"/>
              <a:gd name="T19" fmla="*/ 0 h 321"/>
              <a:gd name="T20" fmla="*/ 82 w 252"/>
              <a:gd name="T21" fmla="*/ 126 h 321"/>
              <a:gd name="T22" fmla="*/ 50 w 252"/>
              <a:gd name="T23" fmla="*/ 126 h 321"/>
              <a:gd name="T24" fmla="*/ 50 w 252"/>
              <a:gd name="T25" fmla="*/ 157 h 321"/>
              <a:gd name="T26" fmla="*/ 82 w 252"/>
              <a:gd name="T27" fmla="*/ 157 h 321"/>
              <a:gd name="T28" fmla="*/ 82 w 252"/>
              <a:gd name="T29" fmla="*/ 126 h 321"/>
              <a:gd name="T30" fmla="*/ 142 w 252"/>
              <a:gd name="T31" fmla="*/ 126 h 321"/>
              <a:gd name="T32" fmla="*/ 110 w 252"/>
              <a:gd name="T33" fmla="*/ 126 h 321"/>
              <a:gd name="T34" fmla="*/ 110 w 252"/>
              <a:gd name="T35" fmla="*/ 157 h 321"/>
              <a:gd name="T36" fmla="*/ 142 w 252"/>
              <a:gd name="T37" fmla="*/ 157 h 321"/>
              <a:gd name="T38" fmla="*/ 142 w 252"/>
              <a:gd name="T39" fmla="*/ 126 h 321"/>
              <a:gd name="T40" fmla="*/ 201 w 252"/>
              <a:gd name="T41" fmla="*/ 126 h 321"/>
              <a:gd name="T42" fmla="*/ 170 w 252"/>
              <a:gd name="T43" fmla="*/ 126 h 321"/>
              <a:gd name="T44" fmla="*/ 170 w 252"/>
              <a:gd name="T45" fmla="*/ 157 h 321"/>
              <a:gd name="T46" fmla="*/ 201 w 252"/>
              <a:gd name="T47" fmla="*/ 157 h 321"/>
              <a:gd name="T48" fmla="*/ 201 w 252"/>
              <a:gd name="T49" fmla="*/ 126 h 321"/>
              <a:gd name="T50" fmla="*/ 82 w 252"/>
              <a:gd name="T51" fmla="*/ 182 h 321"/>
              <a:gd name="T52" fmla="*/ 50 w 252"/>
              <a:gd name="T53" fmla="*/ 182 h 321"/>
              <a:gd name="T54" fmla="*/ 50 w 252"/>
              <a:gd name="T55" fmla="*/ 214 h 321"/>
              <a:gd name="T56" fmla="*/ 82 w 252"/>
              <a:gd name="T57" fmla="*/ 214 h 321"/>
              <a:gd name="T58" fmla="*/ 82 w 252"/>
              <a:gd name="T59" fmla="*/ 182 h 321"/>
              <a:gd name="T60" fmla="*/ 142 w 252"/>
              <a:gd name="T61" fmla="*/ 182 h 321"/>
              <a:gd name="T62" fmla="*/ 110 w 252"/>
              <a:gd name="T63" fmla="*/ 182 h 321"/>
              <a:gd name="T64" fmla="*/ 110 w 252"/>
              <a:gd name="T65" fmla="*/ 214 h 321"/>
              <a:gd name="T66" fmla="*/ 142 w 252"/>
              <a:gd name="T67" fmla="*/ 214 h 321"/>
              <a:gd name="T68" fmla="*/ 142 w 252"/>
              <a:gd name="T69" fmla="*/ 182 h 321"/>
              <a:gd name="T70" fmla="*/ 82 w 252"/>
              <a:gd name="T71" fmla="*/ 239 h 321"/>
              <a:gd name="T72" fmla="*/ 50 w 252"/>
              <a:gd name="T73" fmla="*/ 239 h 321"/>
              <a:gd name="T74" fmla="*/ 50 w 252"/>
              <a:gd name="T75" fmla="*/ 271 h 321"/>
              <a:gd name="T76" fmla="*/ 82 w 252"/>
              <a:gd name="T77" fmla="*/ 271 h 321"/>
              <a:gd name="T78" fmla="*/ 82 w 252"/>
              <a:gd name="T79" fmla="*/ 239 h 321"/>
              <a:gd name="T80" fmla="*/ 142 w 252"/>
              <a:gd name="T81" fmla="*/ 239 h 321"/>
              <a:gd name="T82" fmla="*/ 110 w 252"/>
              <a:gd name="T83" fmla="*/ 239 h 321"/>
              <a:gd name="T84" fmla="*/ 110 w 252"/>
              <a:gd name="T85" fmla="*/ 271 h 321"/>
              <a:gd name="T86" fmla="*/ 142 w 252"/>
              <a:gd name="T87" fmla="*/ 271 h 321"/>
              <a:gd name="T88" fmla="*/ 142 w 252"/>
              <a:gd name="T89" fmla="*/ 239 h 321"/>
              <a:gd name="T90" fmla="*/ 201 w 252"/>
              <a:gd name="T91" fmla="*/ 182 h 321"/>
              <a:gd name="T92" fmla="*/ 170 w 252"/>
              <a:gd name="T93" fmla="*/ 182 h 321"/>
              <a:gd name="T94" fmla="*/ 170 w 252"/>
              <a:gd name="T95" fmla="*/ 271 h 321"/>
              <a:gd name="T96" fmla="*/ 201 w 252"/>
              <a:gd name="T97" fmla="*/ 271 h 321"/>
              <a:gd name="T98" fmla="*/ 201 w 252"/>
              <a:gd name="T99" fmla="*/ 182 h 321"/>
              <a:gd name="T100" fmla="*/ 201 w 252"/>
              <a:gd name="T101" fmla="*/ 50 h 321"/>
              <a:gd name="T102" fmla="*/ 50 w 252"/>
              <a:gd name="T103" fmla="*/ 50 h 321"/>
              <a:gd name="T104" fmla="*/ 50 w 252"/>
              <a:gd name="T105" fmla="*/ 101 h 321"/>
              <a:gd name="T106" fmla="*/ 201 w 252"/>
              <a:gd name="T107" fmla="*/ 101 h 321"/>
              <a:gd name="T108" fmla="*/ 201 w 252"/>
              <a:gd name="T109" fmla="*/ 5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2" h="321">
                <a:moveTo>
                  <a:pt x="227" y="296"/>
                </a:moveTo>
                <a:lnTo>
                  <a:pt x="25" y="296"/>
                </a:lnTo>
                <a:lnTo>
                  <a:pt x="25" y="25"/>
                </a:lnTo>
                <a:lnTo>
                  <a:pt x="227" y="25"/>
                </a:lnTo>
                <a:lnTo>
                  <a:pt x="227" y="296"/>
                </a:lnTo>
                <a:close/>
                <a:moveTo>
                  <a:pt x="252" y="0"/>
                </a:moveTo>
                <a:lnTo>
                  <a:pt x="0" y="0"/>
                </a:lnTo>
                <a:lnTo>
                  <a:pt x="0" y="321"/>
                </a:lnTo>
                <a:lnTo>
                  <a:pt x="252" y="321"/>
                </a:lnTo>
                <a:lnTo>
                  <a:pt x="252" y="0"/>
                </a:lnTo>
                <a:close/>
                <a:moveTo>
                  <a:pt x="82" y="126"/>
                </a:moveTo>
                <a:lnTo>
                  <a:pt x="50" y="126"/>
                </a:lnTo>
                <a:lnTo>
                  <a:pt x="50" y="157"/>
                </a:lnTo>
                <a:lnTo>
                  <a:pt x="82" y="157"/>
                </a:lnTo>
                <a:lnTo>
                  <a:pt x="82" y="126"/>
                </a:lnTo>
                <a:close/>
                <a:moveTo>
                  <a:pt x="142" y="126"/>
                </a:moveTo>
                <a:lnTo>
                  <a:pt x="110" y="126"/>
                </a:lnTo>
                <a:lnTo>
                  <a:pt x="110" y="157"/>
                </a:lnTo>
                <a:lnTo>
                  <a:pt x="142" y="157"/>
                </a:lnTo>
                <a:lnTo>
                  <a:pt x="142" y="126"/>
                </a:lnTo>
                <a:close/>
                <a:moveTo>
                  <a:pt x="201" y="126"/>
                </a:moveTo>
                <a:lnTo>
                  <a:pt x="170" y="126"/>
                </a:lnTo>
                <a:lnTo>
                  <a:pt x="170" y="157"/>
                </a:lnTo>
                <a:lnTo>
                  <a:pt x="201" y="157"/>
                </a:lnTo>
                <a:lnTo>
                  <a:pt x="201" y="126"/>
                </a:lnTo>
                <a:close/>
                <a:moveTo>
                  <a:pt x="82" y="182"/>
                </a:moveTo>
                <a:lnTo>
                  <a:pt x="50" y="182"/>
                </a:lnTo>
                <a:lnTo>
                  <a:pt x="50" y="214"/>
                </a:lnTo>
                <a:lnTo>
                  <a:pt x="82" y="214"/>
                </a:lnTo>
                <a:lnTo>
                  <a:pt x="82" y="182"/>
                </a:lnTo>
                <a:close/>
                <a:moveTo>
                  <a:pt x="142" y="182"/>
                </a:moveTo>
                <a:lnTo>
                  <a:pt x="110" y="182"/>
                </a:lnTo>
                <a:lnTo>
                  <a:pt x="110" y="214"/>
                </a:lnTo>
                <a:lnTo>
                  <a:pt x="142" y="214"/>
                </a:lnTo>
                <a:lnTo>
                  <a:pt x="142" y="182"/>
                </a:lnTo>
                <a:close/>
                <a:moveTo>
                  <a:pt x="82" y="239"/>
                </a:moveTo>
                <a:lnTo>
                  <a:pt x="50" y="239"/>
                </a:lnTo>
                <a:lnTo>
                  <a:pt x="50" y="271"/>
                </a:lnTo>
                <a:lnTo>
                  <a:pt x="82" y="271"/>
                </a:lnTo>
                <a:lnTo>
                  <a:pt x="82" y="239"/>
                </a:lnTo>
                <a:close/>
                <a:moveTo>
                  <a:pt x="142" y="239"/>
                </a:moveTo>
                <a:lnTo>
                  <a:pt x="110" y="239"/>
                </a:lnTo>
                <a:lnTo>
                  <a:pt x="110" y="271"/>
                </a:lnTo>
                <a:lnTo>
                  <a:pt x="142" y="271"/>
                </a:lnTo>
                <a:lnTo>
                  <a:pt x="142" y="239"/>
                </a:lnTo>
                <a:close/>
                <a:moveTo>
                  <a:pt x="201" y="182"/>
                </a:moveTo>
                <a:lnTo>
                  <a:pt x="170" y="182"/>
                </a:lnTo>
                <a:lnTo>
                  <a:pt x="170" y="271"/>
                </a:lnTo>
                <a:lnTo>
                  <a:pt x="201" y="271"/>
                </a:lnTo>
                <a:lnTo>
                  <a:pt x="201" y="182"/>
                </a:lnTo>
                <a:close/>
                <a:moveTo>
                  <a:pt x="201" y="50"/>
                </a:moveTo>
                <a:lnTo>
                  <a:pt x="50" y="50"/>
                </a:lnTo>
                <a:lnTo>
                  <a:pt x="50" y="101"/>
                </a:lnTo>
                <a:lnTo>
                  <a:pt x="201" y="101"/>
                </a:lnTo>
                <a:lnTo>
                  <a:pt x="201" y="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407">
            <a:extLst>
              <a:ext uri="{FF2B5EF4-FFF2-40B4-BE49-F238E27FC236}">
                <a16:creationId xmlns:a16="http://schemas.microsoft.com/office/drawing/2014/main" id="{2EE82495-3247-EAAF-5738-4D866D495820}"/>
              </a:ext>
            </a:extLst>
          </p:cNvPr>
          <p:cNvSpPr>
            <a:spLocks noEditPoints="1"/>
          </p:cNvSpPr>
          <p:nvPr/>
        </p:nvSpPr>
        <p:spPr bwMode="black">
          <a:xfrm>
            <a:off x="9681563" y="1502954"/>
            <a:ext cx="324514" cy="349248"/>
          </a:xfrm>
          <a:custGeom>
            <a:avLst/>
            <a:gdLst>
              <a:gd name="T0" fmla="*/ 160 w 208"/>
              <a:gd name="T1" fmla="*/ 52 h 224"/>
              <a:gd name="T2" fmla="*/ 80 w 208"/>
              <a:gd name="T3" fmla="*/ 52 h 224"/>
              <a:gd name="T4" fmla="*/ 80 w 208"/>
              <a:gd name="T5" fmla="*/ 36 h 224"/>
              <a:gd name="T6" fmla="*/ 160 w 208"/>
              <a:gd name="T7" fmla="*/ 36 h 224"/>
              <a:gd name="T8" fmla="*/ 160 w 208"/>
              <a:gd name="T9" fmla="*/ 52 h 224"/>
              <a:gd name="T10" fmla="*/ 176 w 208"/>
              <a:gd name="T11" fmla="*/ 64 h 224"/>
              <a:gd name="T12" fmla="*/ 80 w 208"/>
              <a:gd name="T13" fmla="*/ 64 h 224"/>
              <a:gd name="T14" fmla="*/ 80 w 208"/>
              <a:gd name="T15" fmla="*/ 80 h 224"/>
              <a:gd name="T16" fmla="*/ 176 w 208"/>
              <a:gd name="T17" fmla="*/ 80 h 224"/>
              <a:gd name="T18" fmla="*/ 176 w 208"/>
              <a:gd name="T19" fmla="*/ 64 h 224"/>
              <a:gd name="T20" fmla="*/ 208 w 208"/>
              <a:gd name="T21" fmla="*/ 0 h 224"/>
              <a:gd name="T22" fmla="*/ 208 w 208"/>
              <a:gd name="T23" fmla="*/ 150 h 224"/>
              <a:gd name="T24" fmla="*/ 158 w 208"/>
              <a:gd name="T25" fmla="*/ 200 h 224"/>
              <a:gd name="T26" fmla="*/ 102 w 208"/>
              <a:gd name="T27" fmla="*/ 200 h 224"/>
              <a:gd name="T28" fmla="*/ 56 w 208"/>
              <a:gd name="T29" fmla="*/ 224 h 224"/>
              <a:gd name="T30" fmla="*/ 0 w 208"/>
              <a:gd name="T31" fmla="*/ 168 h 224"/>
              <a:gd name="T32" fmla="*/ 48 w 208"/>
              <a:gd name="T33" fmla="*/ 113 h 224"/>
              <a:gd name="T34" fmla="*/ 48 w 208"/>
              <a:gd name="T35" fmla="*/ 0 h 224"/>
              <a:gd name="T36" fmla="*/ 208 w 208"/>
              <a:gd name="T37" fmla="*/ 0 h 224"/>
              <a:gd name="T38" fmla="*/ 56 w 208"/>
              <a:gd name="T39" fmla="*/ 208 h 224"/>
              <a:gd name="T40" fmla="*/ 96 w 208"/>
              <a:gd name="T41" fmla="*/ 168 h 224"/>
              <a:gd name="T42" fmla="*/ 56 w 208"/>
              <a:gd name="T43" fmla="*/ 128 h 224"/>
              <a:gd name="T44" fmla="*/ 16 w 208"/>
              <a:gd name="T45" fmla="*/ 168 h 224"/>
              <a:gd name="T46" fmla="*/ 56 w 208"/>
              <a:gd name="T47" fmla="*/ 208 h 224"/>
              <a:gd name="T48" fmla="*/ 64 w 208"/>
              <a:gd name="T49" fmla="*/ 113 h 224"/>
              <a:gd name="T50" fmla="*/ 112 w 208"/>
              <a:gd name="T51" fmla="*/ 168 h 224"/>
              <a:gd name="T52" fmla="*/ 110 w 208"/>
              <a:gd name="T53" fmla="*/ 184 h 224"/>
              <a:gd name="T54" fmla="*/ 140 w 208"/>
              <a:gd name="T55" fmla="*/ 184 h 224"/>
              <a:gd name="T56" fmla="*/ 140 w 208"/>
              <a:gd name="T57" fmla="*/ 132 h 224"/>
              <a:gd name="T58" fmla="*/ 192 w 208"/>
              <a:gd name="T59" fmla="*/ 132 h 224"/>
              <a:gd name="T60" fmla="*/ 192 w 208"/>
              <a:gd name="T61" fmla="*/ 16 h 224"/>
              <a:gd name="T62" fmla="*/ 64 w 208"/>
              <a:gd name="T63" fmla="*/ 16 h 224"/>
              <a:gd name="T64" fmla="*/ 64 w 208"/>
              <a:gd name="T65" fmla="*/ 113 h 224"/>
              <a:gd name="T66" fmla="*/ 187 w 208"/>
              <a:gd name="T67" fmla="*/ 148 h 224"/>
              <a:gd name="T68" fmla="*/ 156 w 208"/>
              <a:gd name="T69" fmla="*/ 148 h 224"/>
              <a:gd name="T70" fmla="*/ 156 w 208"/>
              <a:gd name="T71" fmla="*/ 179 h 224"/>
              <a:gd name="T72" fmla="*/ 187 w 208"/>
              <a:gd name="T73" fmla="*/ 148 h 224"/>
              <a:gd name="T74" fmla="*/ 49 w 208"/>
              <a:gd name="T75" fmla="*/ 171 h 224"/>
              <a:gd name="T76" fmla="*/ 36 w 208"/>
              <a:gd name="T77" fmla="*/ 160 h 224"/>
              <a:gd name="T78" fmla="*/ 26 w 208"/>
              <a:gd name="T79" fmla="*/ 172 h 224"/>
              <a:gd name="T80" fmla="*/ 51 w 208"/>
              <a:gd name="T81" fmla="*/ 193 h 224"/>
              <a:gd name="T82" fmla="*/ 83 w 208"/>
              <a:gd name="T83" fmla="*/ 155 h 224"/>
              <a:gd name="T84" fmla="*/ 71 w 208"/>
              <a:gd name="T85" fmla="*/ 145 h 224"/>
              <a:gd name="T86" fmla="*/ 49 w 208"/>
              <a:gd name="T87" fmla="*/ 17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8" h="224">
                <a:moveTo>
                  <a:pt x="160" y="52"/>
                </a:moveTo>
                <a:cubicBezTo>
                  <a:pt x="80" y="52"/>
                  <a:pt x="80" y="52"/>
                  <a:pt x="80" y="52"/>
                </a:cubicBezTo>
                <a:cubicBezTo>
                  <a:pt x="80" y="36"/>
                  <a:pt x="80" y="36"/>
                  <a:pt x="80" y="36"/>
                </a:cubicBezTo>
                <a:cubicBezTo>
                  <a:pt x="160" y="36"/>
                  <a:pt x="160" y="36"/>
                  <a:pt x="160" y="36"/>
                </a:cubicBezTo>
                <a:lnTo>
                  <a:pt x="160" y="52"/>
                </a:lnTo>
                <a:close/>
                <a:moveTo>
                  <a:pt x="176" y="64"/>
                </a:moveTo>
                <a:cubicBezTo>
                  <a:pt x="80" y="64"/>
                  <a:pt x="80" y="64"/>
                  <a:pt x="80" y="64"/>
                </a:cubicBezTo>
                <a:cubicBezTo>
                  <a:pt x="80" y="80"/>
                  <a:pt x="80" y="80"/>
                  <a:pt x="80" y="80"/>
                </a:cubicBezTo>
                <a:cubicBezTo>
                  <a:pt x="176" y="80"/>
                  <a:pt x="176" y="80"/>
                  <a:pt x="176" y="80"/>
                </a:cubicBezTo>
                <a:lnTo>
                  <a:pt x="176" y="64"/>
                </a:lnTo>
                <a:close/>
                <a:moveTo>
                  <a:pt x="208" y="0"/>
                </a:moveTo>
                <a:cubicBezTo>
                  <a:pt x="208" y="150"/>
                  <a:pt x="208" y="150"/>
                  <a:pt x="208" y="150"/>
                </a:cubicBezTo>
                <a:cubicBezTo>
                  <a:pt x="158" y="200"/>
                  <a:pt x="158" y="200"/>
                  <a:pt x="158" y="200"/>
                </a:cubicBezTo>
                <a:cubicBezTo>
                  <a:pt x="102" y="200"/>
                  <a:pt x="102" y="200"/>
                  <a:pt x="102" y="200"/>
                </a:cubicBezTo>
                <a:cubicBezTo>
                  <a:pt x="92" y="214"/>
                  <a:pt x="75" y="224"/>
                  <a:pt x="56" y="224"/>
                </a:cubicBezTo>
                <a:cubicBezTo>
                  <a:pt x="25" y="224"/>
                  <a:pt x="0" y="199"/>
                  <a:pt x="0" y="168"/>
                </a:cubicBezTo>
                <a:cubicBezTo>
                  <a:pt x="0" y="140"/>
                  <a:pt x="21" y="117"/>
                  <a:pt x="48" y="113"/>
                </a:cubicBezTo>
                <a:cubicBezTo>
                  <a:pt x="48" y="0"/>
                  <a:pt x="48" y="0"/>
                  <a:pt x="48" y="0"/>
                </a:cubicBezTo>
                <a:lnTo>
                  <a:pt x="208" y="0"/>
                </a:lnTo>
                <a:close/>
                <a:moveTo>
                  <a:pt x="56" y="208"/>
                </a:moveTo>
                <a:cubicBezTo>
                  <a:pt x="78" y="208"/>
                  <a:pt x="96" y="190"/>
                  <a:pt x="96" y="168"/>
                </a:cubicBezTo>
                <a:cubicBezTo>
                  <a:pt x="96" y="146"/>
                  <a:pt x="78" y="128"/>
                  <a:pt x="56" y="128"/>
                </a:cubicBezTo>
                <a:cubicBezTo>
                  <a:pt x="34" y="128"/>
                  <a:pt x="16" y="146"/>
                  <a:pt x="16" y="168"/>
                </a:cubicBezTo>
                <a:cubicBezTo>
                  <a:pt x="16" y="190"/>
                  <a:pt x="34" y="208"/>
                  <a:pt x="56" y="208"/>
                </a:cubicBezTo>
                <a:moveTo>
                  <a:pt x="64" y="113"/>
                </a:moveTo>
                <a:cubicBezTo>
                  <a:pt x="91" y="117"/>
                  <a:pt x="112" y="140"/>
                  <a:pt x="112" y="168"/>
                </a:cubicBezTo>
                <a:cubicBezTo>
                  <a:pt x="112" y="174"/>
                  <a:pt x="111" y="179"/>
                  <a:pt x="110" y="184"/>
                </a:cubicBezTo>
                <a:cubicBezTo>
                  <a:pt x="140" y="184"/>
                  <a:pt x="140" y="184"/>
                  <a:pt x="140" y="184"/>
                </a:cubicBezTo>
                <a:cubicBezTo>
                  <a:pt x="140" y="132"/>
                  <a:pt x="140" y="132"/>
                  <a:pt x="140" y="132"/>
                </a:cubicBezTo>
                <a:cubicBezTo>
                  <a:pt x="192" y="132"/>
                  <a:pt x="192" y="132"/>
                  <a:pt x="192" y="132"/>
                </a:cubicBezTo>
                <a:cubicBezTo>
                  <a:pt x="192" y="16"/>
                  <a:pt x="192" y="16"/>
                  <a:pt x="192" y="16"/>
                </a:cubicBezTo>
                <a:cubicBezTo>
                  <a:pt x="64" y="16"/>
                  <a:pt x="64" y="16"/>
                  <a:pt x="64" y="16"/>
                </a:cubicBezTo>
                <a:cubicBezTo>
                  <a:pt x="64" y="113"/>
                  <a:pt x="64" y="113"/>
                  <a:pt x="64" y="113"/>
                </a:cubicBezTo>
                <a:moveTo>
                  <a:pt x="187" y="148"/>
                </a:moveTo>
                <a:cubicBezTo>
                  <a:pt x="156" y="148"/>
                  <a:pt x="156" y="148"/>
                  <a:pt x="156" y="148"/>
                </a:cubicBezTo>
                <a:cubicBezTo>
                  <a:pt x="156" y="179"/>
                  <a:pt x="156" y="179"/>
                  <a:pt x="156" y="179"/>
                </a:cubicBezTo>
                <a:lnTo>
                  <a:pt x="187" y="148"/>
                </a:lnTo>
                <a:close/>
                <a:moveTo>
                  <a:pt x="49" y="171"/>
                </a:moveTo>
                <a:cubicBezTo>
                  <a:pt x="36" y="160"/>
                  <a:pt x="36" y="160"/>
                  <a:pt x="36" y="160"/>
                </a:cubicBezTo>
                <a:cubicBezTo>
                  <a:pt x="26" y="172"/>
                  <a:pt x="26" y="172"/>
                  <a:pt x="26" y="172"/>
                </a:cubicBezTo>
                <a:cubicBezTo>
                  <a:pt x="51" y="193"/>
                  <a:pt x="51" y="193"/>
                  <a:pt x="51" y="193"/>
                </a:cubicBezTo>
                <a:cubicBezTo>
                  <a:pt x="83" y="155"/>
                  <a:pt x="83" y="155"/>
                  <a:pt x="83" y="155"/>
                </a:cubicBezTo>
                <a:cubicBezTo>
                  <a:pt x="71" y="145"/>
                  <a:pt x="71" y="145"/>
                  <a:pt x="71" y="145"/>
                </a:cubicBezTo>
                <a:lnTo>
                  <a:pt x="49" y="17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522">
            <a:extLst>
              <a:ext uri="{FF2B5EF4-FFF2-40B4-BE49-F238E27FC236}">
                <a16:creationId xmlns:a16="http://schemas.microsoft.com/office/drawing/2014/main" id="{40E5E36D-A56D-0D9F-7D5F-95605A534FED}"/>
              </a:ext>
            </a:extLst>
          </p:cNvPr>
          <p:cNvSpPr>
            <a:spLocks noEditPoints="1"/>
          </p:cNvSpPr>
          <p:nvPr/>
        </p:nvSpPr>
        <p:spPr bwMode="black">
          <a:xfrm>
            <a:off x="5274192" y="1520116"/>
            <a:ext cx="265151" cy="315609"/>
          </a:xfrm>
          <a:custGeom>
            <a:avLst/>
            <a:gdLst>
              <a:gd name="T0" fmla="*/ 18 w 170"/>
              <a:gd name="T1" fmla="*/ 53 h 203"/>
              <a:gd name="T2" fmla="*/ 33 w 170"/>
              <a:gd name="T3" fmla="*/ 39 h 203"/>
              <a:gd name="T4" fmla="*/ 18 w 170"/>
              <a:gd name="T5" fmla="*/ 25 h 203"/>
              <a:gd name="T6" fmla="*/ 30 w 170"/>
              <a:gd name="T7" fmla="*/ 13 h 203"/>
              <a:gd name="T8" fmla="*/ 44 w 170"/>
              <a:gd name="T9" fmla="*/ 28 h 203"/>
              <a:gd name="T10" fmla="*/ 58 w 170"/>
              <a:gd name="T11" fmla="*/ 13 h 203"/>
              <a:gd name="T12" fmla="*/ 70 w 170"/>
              <a:gd name="T13" fmla="*/ 25 h 203"/>
              <a:gd name="T14" fmla="*/ 55 w 170"/>
              <a:gd name="T15" fmla="*/ 39 h 203"/>
              <a:gd name="T16" fmla="*/ 70 w 170"/>
              <a:gd name="T17" fmla="*/ 53 h 203"/>
              <a:gd name="T18" fmla="*/ 58 w 170"/>
              <a:gd name="T19" fmla="*/ 65 h 203"/>
              <a:gd name="T20" fmla="*/ 44 w 170"/>
              <a:gd name="T21" fmla="*/ 50 h 203"/>
              <a:gd name="T22" fmla="*/ 30 w 170"/>
              <a:gd name="T23" fmla="*/ 65 h 203"/>
              <a:gd name="T24" fmla="*/ 18 w 170"/>
              <a:gd name="T25" fmla="*/ 53 h 203"/>
              <a:gd name="T26" fmla="*/ 170 w 170"/>
              <a:gd name="T27" fmla="*/ 33 h 203"/>
              <a:gd name="T28" fmla="*/ 158 w 170"/>
              <a:gd name="T29" fmla="*/ 45 h 203"/>
              <a:gd name="T30" fmla="*/ 144 w 170"/>
              <a:gd name="T31" fmla="*/ 30 h 203"/>
              <a:gd name="T32" fmla="*/ 144 w 170"/>
              <a:gd name="T33" fmla="*/ 109 h 203"/>
              <a:gd name="T34" fmla="*/ 36 w 170"/>
              <a:gd name="T35" fmla="*/ 109 h 203"/>
              <a:gd name="T36" fmla="*/ 36 w 170"/>
              <a:gd name="T37" fmla="*/ 148 h 203"/>
              <a:gd name="T38" fmla="*/ 56 w 170"/>
              <a:gd name="T39" fmla="*/ 175 h 203"/>
              <a:gd name="T40" fmla="*/ 28 w 170"/>
              <a:gd name="T41" fmla="*/ 203 h 203"/>
              <a:gd name="T42" fmla="*/ 0 w 170"/>
              <a:gd name="T43" fmla="*/ 175 h 203"/>
              <a:gd name="T44" fmla="*/ 20 w 170"/>
              <a:gd name="T45" fmla="*/ 148 h 203"/>
              <a:gd name="T46" fmla="*/ 19 w 170"/>
              <a:gd name="T47" fmla="*/ 93 h 203"/>
              <a:gd name="T48" fmla="*/ 128 w 170"/>
              <a:gd name="T49" fmla="*/ 93 h 203"/>
              <a:gd name="T50" fmla="*/ 128 w 170"/>
              <a:gd name="T51" fmla="*/ 31 h 203"/>
              <a:gd name="T52" fmla="*/ 114 w 170"/>
              <a:gd name="T53" fmla="*/ 45 h 203"/>
              <a:gd name="T54" fmla="*/ 103 w 170"/>
              <a:gd name="T55" fmla="*/ 33 h 203"/>
              <a:gd name="T56" fmla="*/ 136 w 170"/>
              <a:gd name="T57" fmla="*/ 0 h 203"/>
              <a:gd name="T58" fmla="*/ 170 w 170"/>
              <a:gd name="T59" fmla="*/ 33 h 203"/>
              <a:gd name="T60" fmla="*/ 40 w 170"/>
              <a:gd name="T61" fmla="*/ 175 h 203"/>
              <a:gd name="T62" fmla="*/ 28 w 170"/>
              <a:gd name="T63" fmla="*/ 163 h 203"/>
              <a:gd name="T64" fmla="*/ 16 w 170"/>
              <a:gd name="T65" fmla="*/ 175 h 203"/>
              <a:gd name="T66" fmla="*/ 28 w 170"/>
              <a:gd name="T67" fmla="*/ 187 h 203"/>
              <a:gd name="T68" fmla="*/ 40 w 170"/>
              <a:gd name="T69" fmla="*/ 175 h 203"/>
              <a:gd name="T70" fmla="*/ 135 w 170"/>
              <a:gd name="T71" fmla="*/ 141 h 203"/>
              <a:gd name="T72" fmla="*/ 120 w 170"/>
              <a:gd name="T73" fmla="*/ 156 h 203"/>
              <a:gd name="T74" fmla="*/ 106 w 170"/>
              <a:gd name="T75" fmla="*/ 141 h 203"/>
              <a:gd name="T76" fmla="*/ 95 w 170"/>
              <a:gd name="T77" fmla="*/ 153 h 203"/>
              <a:gd name="T78" fmla="*/ 109 w 170"/>
              <a:gd name="T79" fmla="*/ 167 h 203"/>
              <a:gd name="T80" fmla="*/ 95 w 170"/>
              <a:gd name="T81" fmla="*/ 181 h 203"/>
              <a:gd name="T82" fmla="*/ 106 w 170"/>
              <a:gd name="T83" fmla="*/ 193 h 203"/>
              <a:gd name="T84" fmla="*/ 120 w 170"/>
              <a:gd name="T85" fmla="*/ 178 h 203"/>
              <a:gd name="T86" fmla="*/ 135 w 170"/>
              <a:gd name="T87" fmla="*/ 193 h 203"/>
              <a:gd name="T88" fmla="*/ 146 w 170"/>
              <a:gd name="T89" fmla="*/ 181 h 203"/>
              <a:gd name="T90" fmla="*/ 132 w 170"/>
              <a:gd name="T91" fmla="*/ 167 h 203"/>
              <a:gd name="T92" fmla="*/ 146 w 170"/>
              <a:gd name="T93" fmla="*/ 153 h 203"/>
              <a:gd name="T94" fmla="*/ 135 w 170"/>
              <a:gd name="T95" fmla="*/ 14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203">
                <a:moveTo>
                  <a:pt x="18" y="53"/>
                </a:moveTo>
                <a:cubicBezTo>
                  <a:pt x="33" y="39"/>
                  <a:pt x="33" y="39"/>
                  <a:pt x="33" y="39"/>
                </a:cubicBezTo>
                <a:cubicBezTo>
                  <a:pt x="18" y="25"/>
                  <a:pt x="18" y="25"/>
                  <a:pt x="18" y="25"/>
                </a:cubicBezTo>
                <a:cubicBezTo>
                  <a:pt x="30" y="13"/>
                  <a:pt x="30" y="13"/>
                  <a:pt x="30" y="13"/>
                </a:cubicBezTo>
                <a:cubicBezTo>
                  <a:pt x="44" y="28"/>
                  <a:pt x="44" y="28"/>
                  <a:pt x="44" y="28"/>
                </a:cubicBezTo>
                <a:cubicBezTo>
                  <a:pt x="58" y="13"/>
                  <a:pt x="58" y="13"/>
                  <a:pt x="58" y="13"/>
                </a:cubicBezTo>
                <a:cubicBezTo>
                  <a:pt x="70" y="25"/>
                  <a:pt x="70" y="25"/>
                  <a:pt x="70" y="25"/>
                </a:cubicBezTo>
                <a:cubicBezTo>
                  <a:pt x="55" y="39"/>
                  <a:pt x="55" y="39"/>
                  <a:pt x="55" y="39"/>
                </a:cubicBezTo>
                <a:cubicBezTo>
                  <a:pt x="70" y="53"/>
                  <a:pt x="70" y="53"/>
                  <a:pt x="70" y="53"/>
                </a:cubicBezTo>
                <a:cubicBezTo>
                  <a:pt x="58" y="65"/>
                  <a:pt x="58" y="65"/>
                  <a:pt x="58" y="65"/>
                </a:cubicBezTo>
                <a:cubicBezTo>
                  <a:pt x="44" y="50"/>
                  <a:pt x="44" y="50"/>
                  <a:pt x="44" y="50"/>
                </a:cubicBezTo>
                <a:cubicBezTo>
                  <a:pt x="30" y="65"/>
                  <a:pt x="30" y="65"/>
                  <a:pt x="30" y="65"/>
                </a:cubicBezTo>
                <a:lnTo>
                  <a:pt x="18" y="53"/>
                </a:lnTo>
                <a:close/>
                <a:moveTo>
                  <a:pt x="170" y="33"/>
                </a:moveTo>
                <a:cubicBezTo>
                  <a:pt x="158" y="45"/>
                  <a:pt x="158" y="45"/>
                  <a:pt x="158" y="45"/>
                </a:cubicBezTo>
                <a:cubicBezTo>
                  <a:pt x="144" y="30"/>
                  <a:pt x="144" y="30"/>
                  <a:pt x="144" y="30"/>
                </a:cubicBezTo>
                <a:cubicBezTo>
                  <a:pt x="144" y="109"/>
                  <a:pt x="144" y="109"/>
                  <a:pt x="144" y="109"/>
                </a:cubicBezTo>
                <a:cubicBezTo>
                  <a:pt x="36" y="109"/>
                  <a:pt x="36" y="109"/>
                  <a:pt x="36" y="109"/>
                </a:cubicBezTo>
                <a:cubicBezTo>
                  <a:pt x="36" y="148"/>
                  <a:pt x="36" y="148"/>
                  <a:pt x="36" y="148"/>
                </a:cubicBezTo>
                <a:cubicBezTo>
                  <a:pt x="48" y="152"/>
                  <a:pt x="56" y="162"/>
                  <a:pt x="56" y="175"/>
                </a:cubicBezTo>
                <a:cubicBezTo>
                  <a:pt x="56" y="190"/>
                  <a:pt x="43" y="203"/>
                  <a:pt x="28" y="203"/>
                </a:cubicBezTo>
                <a:cubicBezTo>
                  <a:pt x="13" y="203"/>
                  <a:pt x="0" y="190"/>
                  <a:pt x="0" y="175"/>
                </a:cubicBezTo>
                <a:cubicBezTo>
                  <a:pt x="0" y="162"/>
                  <a:pt x="8" y="152"/>
                  <a:pt x="20" y="148"/>
                </a:cubicBezTo>
                <a:cubicBezTo>
                  <a:pt x="19" y="93"/>
                  <a:pt x="19" y="93"/>
                  <a:pt x="19" y="93"/>
                </a:cubicBezTo>
                <a:cubicBezTo>
                  <a:pt x="128" y="93"/>
                  <a:pt x="128" y="93"/>
                  <a:pt x="128" y="93"/>
                </a:cubicBezTo>
                <a:cubicBezTo>
                  <a:pt x="128" y="31"/>
                  <a:pt x="128" y="31"/>
                  <a:pt x="128" y="31"/>
                </a:cubicBezTo>
                <a:cubicBezTo>
                  <a:pt x="114" y="45"/>
                  <a:pt x="114" y="45"/>
                  <a:pt x="114" y="45"/>
                </a:cubicBezTo>
                <a:cubicBezTo>
                  <a:pt x="103" y="33"/>
                  <a:pt x="103" y="33"/>
                  <a:pt x="103" y="33"/>
                </a:cubicBezTo>
                <a:cubicBezTo>
                  <a:pt x="136" y="0"/>
                  <a:pt x="136" y="0"/>
                  <a:pt x="136" y="0"/>
                </a:cubicBezTo>
                <a:lnTo>
                  <a:pt x="170" y="33"/>
                </a:lnTo>
                <a:close/>
                <a:moveTo>
                  <a:pt x="40" y="175"/>
                </a:moveTo>
                <a:cubicBezTo>
                  <a:pt x="40" y="168"/>
                  <a:pt x="35" y="163"/>
                  <a:pt x="28" y="163"/>
                </a:cubicBezTo>
                <a:cubicBezTo>
                  <a:pt x="21" y="163"/>
                  <a:pt x="16" y="168"/>
                  <a:pt x="16" y="175"/>
                </a:cubicBezTo>
                <a:cubicBezTo>
                  <a:pt x="16" y="182"/>
                  <a:pt x="21" y="187"/>
                  <a:pt x="28" y="187"/>
                </a:cubicBezTo>
                <a:cubicBezTo>
                  <a:pt x="35" y="187"/>
                  <a:pt x="40" y="182"/>
                  <a:pt x="40" y="175"/>
                </a:cubicBezTo>
                <a:moveTo>
                  <a:pt x="135" y="141"/>
                </a:moveTo>
                <a:cubicBezTo>
                  <a:pt x="120" y="156"/>
                  <a:pt x="120" y="156"/>
                  <a:pt x="120" y="156"/>
                </a:cubicBezTo>
                <a:cubicBezTo>
                  <a:pt x="106" y="141"/>
                  <a:pt x="106" y="141"/>
                  <a:pt x="106" y="141"/>
                </a:cubicBezTo>
                <a:cubicBezTo>
                  <a:pt x="95" y="153"/>
                  <a:pt x="95" y="153"/>
                  <a:pt x="95" y="153"/>
                </a:cubicBezTo>
                <a:cubicBezTo>
                  <a:pt x="109" y="167"/>
                  <a:pt x="109" y="167"/>
                  <a:pt x="109" y="167"/>
                </a:cubicBezTo>
                <a:cubicBezTo>
                  <a:pt x="95" y="181"/>
                  <a:pt x="95" y="181"/>
                  <a:pt x="95" y="181"/>
                </a:cubicBezTo>
                <a:cubicBezTo>
                  <a:pt x="106" y="193"/>
                  <a:pt x="106" y="193"/>
                  <a:pt x="106" y="193"/>
                </a:cubicBezTo>
                <a:cubicBezTo>
                  <a:pt x="120" y="178"/>
                  <a:pt x="120" y="178"/>
                  <a:pt x="120" y="178"/>
                </a:cubicBezTo>
                <a:cubicBezTo>
                  <a:pt x="135" y="193"/>
                  <a:pt x="135" y="193"/>
                  <a:pt x="135" y="193"/>
                </a:cubicBezTo>
                <a:cubicBezTo>
                  <a:pt x="146" y="181"/>
                  <a:pt x="146" y="181"/>
                  <a:pt x="146" y="181"/>
                </a:cubicBezTo>
                <a:cubicBezTo>
                  <a:pt x="132" y="167"/>
                  <a:pt x="132" y="167"/>
                  <a:pt x="132" y="167"/>
                </a:cubicBezTo>
                <a:cubicBezTo>
                  <a:pt x="146" y="153"/>
                  <a:pt x="146" y="153"/>
                  <a:pt x="146" y="153"/>
                </a:cubicBezTo>
                <a:lnTo>
                  <a:pt x="135" y="1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6" name="Straight Connector 15">
            <a:extLst>
              <a:ext uri="{FF2B5EF4-FFF2-40B4-BE49-F238E27FC236}">
                <a16:creationId xmlns:a16="http://schemas.microsoft.com/office/drawing/2014/main" id="{59C85822-C1D9-2997-B98E-6394FCE27AF2}"/>
              </a:ext>
            </a:extLst>
          </p:cNvPr>
          <p:cNvCxnSpPr>
            <a:cxnSpLocks/>
          </p:cNvCxnSpPr>
          <p:nvPr/>
        </p:nvCxnSpPr>
        <p:spPr>
          <a:xfrm>
            <a:off x="3929324" y="2225392"/>
            <a:ext cx="0" cy="3931706"/>
          </a:xfrm>
          <a:prstGeom prst="line">
            <a:avLst/>
          </a:prstGeom>
          <a:noFill/>
          <a:ln w="12700" cap="flat" cmpd="sng">
            <a:solidFill>
              <a:srgbClr val="D3D3D3"/>
            </a:solidFill>
            <a:prstDash val="solid"/>
            <a:round/>
            <a:headEnd type="none" w="lg" len="med"/>
            <a:tailEnd type="none" w="lg" len="med"/>
          </a:ln>
        </p:spPr>
      </p:cxnSp>
      <p:cxnSp>
        <p:nvCxnSpPr>
          <p:cNvPr id="17" name="Straight Connector 16">
            <a:extLst>
              <a:ext uri="{FF2B5EF4-FFF2-40B4-BE49-F238E27FC236}">
                <a16:creationId xmlns:a16="http://schemas.microsoft.com/office/drawing/2014/main" id="{3195DE1D-8D74-14BE-E25C-DACB6A4371B9}"/>
              </a:ext>
            </a:extLst>
          </p:cNvPr>
          <p:cNvCxnSpPr>
            <a:cxnSpLocks/>
          </p:cNvCxnSpPr>
          <p:nvPr/>
        </p:nvCxnSpPr>
        <p:spPr>
          <a:xfrm>
            <a:off x="3018630" y="2564727"/>
            <a:ext cx="8382795" cy="0"/>
          </a:xfrm>
          <a:prstGeom prst="line">
            <a:avLst/>
          </a:prstGeom>
          <a:noFill/>
          <a:ln w="12700" cap="flat" cmpd="sng">
            <a:solidFill>
              <a:srgbClr val="D3D3D3"/>
            </a:solidFill>
            <a:prstDash val="solid"/>
            <a:round/>
            <a:headEnd type="none" w="lg" len="med"/>
            <a:tailEnd type="none" w="lg" len="med"/>
          </a:ln>
        </p:spPr>
      </p:cxnSp>
      <p:cxnSp>
        <p:nvCxnSpPr>
          <p:cNvPr id="20" name="Straight Connector 19">
            <a:extLst>
              <a:ext uri="{FF2B5EF4-FFF2-40B4-BE49-F238E27FC236}">
                <a16:creationId xmlns:a16="http://schemas.microsoft.com/office/drawing/2014/main" id="{63B8FEEC-BC2F-CB9A-C4C9-7A6BA0FC7170}"/>
              </a:ext>
            </a:extLst>
          </p:cNvPr>
          <p:cNvCxnSpPr>
            <a:cxnSpLocks/>
          </p:cNvCxnSpPr>
          <p:nvPr/>
        </p:nvCxnSpPr>
        <p:spPr>
          <a:xfrm>
            <a:off x="6138953" y="2225392"/>
            <a:ext cx="0" cy="3931706"/>
          </a:xfrm>
          <a:prstGeom prst="line">
            <a:avLst/>
          </a:prstGeom>
          <a:noFill/>
          <a:ln w="12700" cap="flat" cmpd="sng">
            <a:solidFill>
              <a:srgbClr val="D3D3D3"/>
            </a:solidFill>
            <a:prstDash val="solid"/>
            <a:round/>
            <a:headEnd type="none" w="lg" len="med"/>
            <a:tailEnd type="none" w="lg" len="med"/>
          </a:ln>
        </p:spPr>
      </p:cxnSp>
      <p:cxnSp>
        <p:nvCxnSpPr>
          <p:cNvPr id="21" name="Straight Connector 20">
            <a:extLst>
              <a:ext uri="{FF2B5EF4-FFF2-40B4-BE49-F238E27FC236}">
                <a16:creationId xmlns:a16="http://schemas.microsoft.com/office/drawing/2014/main" id="{A7D0BAB4-41C6-D698-9AAC-F54CD8CEB672}"/>
              </a:ext>
            </a:extLst>
          </p:cNvPr>
          <p:cNvCxnSpPr>
            <a:cxnSpLocks/>
          </p:cNvCxnSpPr>
          <p:nvPr/>
        </p:nvCxnSpPr>
        <p:spPr>
          <a:xfrm>
            <a:off x="8347675" y="2225392"/>
            <a:ext cx="0" cy="3931706"/>
          </a:xfrm>
          <a:prstGeom prst="line">
            <a:avLst/>
          </a:prstGeom>
          <a:noFill/>
          <a:ln w="12700" cap="flat" cmpd="sng">
            <a:solidFill>
              <a:srgbClr val="D3D3D3"/>
            </a:solidFill>
            <a:prstDash val="solid"/>
            <a:round/>
            <a:headEnd type="none" w="lg" len="med"/>
            <a:tailEnd type="none" w="lg" len="med"/>
          </a:ln>
        </p:spPr>
      </p:cxnSp>
      <p:cxnSp>
        <p:nvCxnSpPr>
          <p:cNvPr id="22" name="Straight Connector 21">
            <a:extLst>
              <a:ext uri="{FF2B5EF4-FFF2-40B4-BE49-F238E27FC236}">
                <a16:creationId xmlns:a16="http://schemas.microsoft.com/office/drawing/2014/main" id="{4F27A8A6-332C-2A8D-2D30-B9CF6CD4D1DB}"/>
              </a:ext>
            </a:extLst>
          </p:cNvPr>
          <p:cNvCxnSpPr>
            <a:cxnSpLocks/>
          </p:cNvCxnSpPr>
          <p:nvPr/>
        </p:nvCxnSpPr>
        <p:spPr>
          <a:xfrm>
            <a:off x="10557304" y="2225392"/>
            <a:ext cx="0" cy="3931706"/>
          </a:xfrm>
          <a:prstGeom prst="line">
            <a:avLst/>
          </a:prstGeom>
          <a:noFill/>
          <a:ln w="12700" cap="flat" cmpd="sng">
            <a:solidFill>
              <a:srgbClr val="D3D3D3"/>
            </a:solidFill>
            <a:prstDash val="solid"/>
            <a:round/>
            <a:headEnd type="none" w="lg" len="med"/>
            <a:tailEnd type="none" w="lg" len="med"/>
          </a:ln>
        </p:spPr>
      </p:cxnSp>
      <p:cxnSp>
        <p:nvCxnSpPr>
          <p:cNvPr id="23" name="Straight Connector 22">
            <a:extLst>
              <a:ext uri="{FF2B5EF4-FFF2-40B4-BE49-F238E27FC236}">
                <a16:creationId xmlns:a16="http://schemas.microsoft.com/office/drawing/2014/main" id="{5F3B8533-A6B3-D88A-C53E-69161B7EB92D}"/>
              </a:ext>
            </a:extLst>
          </p:cNvPr>
          <p:cNvCxnSpPr>
            <a:cxnSpLocks/>
          </p:cNvCxnSpPr>
          <p:nvPr/>
        </p:nvCxnSpPr>
        <p:spPr>
          <a:xfrm>
            <a:off x="3018630" y="3600909"/>
            <a:ext cx="8382795" cy="0"/>
          </a:xfrm>
          <a:prstGeom prst="line">
            <a:avLst/>
          </a:prstGeom>
          <a:noFill/>
          <a:ln w="12700" cap="flat" cmpd="sng">
            <a:solidFill>
              <a:srgbClr val="D3D3D3"/>
            </a:solidFill>
            <a:prstDash val="solid"/>
            <a:round/>
            <a:headEnd type="none" w="lg" len="med"/>
            <a:tailEnd type="none" w="lg" len="med"/>
          </a:ln>
        </p:spPr>
      </p:cxnSp>
      <p:cxnSp>
        <p:nvCxnSpPr>
          <p:cNvPr id="24" name="Straight Connector 23">
            <a:extLst>
              <a:ext uri="{FF2B5EF4-FFF2-40B4-BE49-F238E27FC236}">
                <a16:creationId xmlns:a16="http://schemas.microsoft.com/office/drawing/2014/main" id="{26E9383D-7394-1278-CE48-D55001623C20}"/>
              </a:ext>
            </a:extLst>
          </p:cNvPr>
          <p:cNvCxnSpPr>
            <a:cxnSpLocks/>
          </p:cNvCxnSpPr>
          <p:nvPr/>
        </p:nvCxnSpPr>
        <p:spPr>
          <a:xfrm>
            <a:off x="3018630" y="4633955"/>
            <a:ext cx="8382795" cy="0"/>
          </a:xfrm>
          <a:prstGeom prst="line">
            <a:avLst/>
          </a:prstGeom>
          <a:noFill/>
          <a:ln w="12700" cap="flat" cmpd="sng">
            <a:solidFill>
              <a:srgbClr val="D3D3D3"/>
            </a:solidFill>
            <a:prstDash val="solid"/>
            <a:round/>
            <a:headEnd type="none" w="lg" len="med"/>
            <a:tailEnd type="none" w="lg" len="med"/>
          </a:ln>
        </p:spPr>
      </p:cxnSp>
      <p:cxnSp>
        <p:nvCxnSpPr>
          <p:cNvPr id="25" name="Straight Connector 24">
            <a:extLst>
              <a:ext uri="{FF2B5EF4-FFF2-40B4-BE49-F238E27FC236}">
                <a16:creationId xmlns:a16="http://schemas.microsoft.com/office/drawing/2014/main" id="{44D32DAC-3660-DD1D-94B2-8E5BD3A01923}"/>
              </a:ext>
            </a:extLst>
          </p:cNvPr>
          <p:cNvCxnSpPr>
            <a:cxnSpLocks/>
          </p:cNvCxnSpPr>
          <p:nvPr/>
        </p:nvCxnSpPr>
        <p:spPr>
          <a:xfrm>
            <a:off x="3018630" y="5662131"/>
            <a:ext cx="8382795" cy="0"/>
          </a:xfrm>
          <a:prstGeom prst="line">
            <a:avLst/>
          </a:prstGeom>
          <a:noFill/>
          <a:ln w="12700" cap="flat" cmpd="sng">
            <a:solidFill>
              <a:srgbClr val="D3D3D3"/>
            </a:solidFill>
            <a:prstDash val="solid"/>
            <a:round/>
            <a:headEnd type="none" w="lg" len="med"/>
            <a:tailEnd type="none" w="lg" len="med"/>
          </a:ln>
        </p:spPr>
      </p:cxnSp>
      <p:sp>
        <p:nvSpPr>
          <p:cNvPr id="19" name="Oval 18">
            <a:extLst>
              <a:ext uri="{FF2B5EF4-FFF2-40B4-BE49-F238E27FC236}">
                <a16:creationId xmlns:a16="http://schemas.microsoft.com/office/drawing/2014/main" id="{F53BD632-2854-6A8D-F5AB-D0ECE8C6DFCD}"/>
              </a:ext>
            </a:extLst>
          </p:cNvPr>
          <p:cNvSpPr/>
          <p:nvPr/>
        </p:nvSpPr>
        <p:spPr>
          <a:xfrm>
            <a:off x="3680594" y="3352179"/>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8" name="Oval 27">
            <a:extLst>
              <a:ext uri="{FF2B5EF4-FFF2-40B4-BE49-F238E27FC236}">
                <a16:creationId xmlns:a16="http://schemas.microsoft.com/office/drawing/2014/main" id="{57755B03-9030-0935-5BD4-EAC43B516FB5}"/>
              </a:ext>
            </a:extLst>
          </p:cNvPr>
          <p:cNvSpPr/>
          <p:nvPr/>
        </p:nvSpPr>
        <p:spPr>
          <a:xfrm>
            <a:off x="8098945" y="5413401"/>
            <a:ext cx="497461" cy="497461"/>
          </a:xfrm>
          <a:prstGeom prst="ellipse">
            <a:avLst/>
          </a:prstGeom>
          <a:solidFill>
            <a:srgbClr val="00A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Oval 28">
            <a:extLst>
              <a:ext uri="{FF2B5EF4-FFF2-40B4-BE49-F238E27FC236}">
                <a16:creationId xmlns:a16="http://schemas.microsoft.com/office/drawing/2014/main" id="{2BFE159E-A04E-EEE6-F83F-849CCB0D2EED}"/>
              </a:ext>
            </a:extLst>
          </p:cNvPr>
          <p:cNvSpPr/>
          <p:nvPr/>
        </p:nvSpPr>
        <p:spPr>
          <a:xfrm>
            <a:off x="3680594" y="2315997"/>
            <a:ext cx="497461" cy="497461"/>
          </a:xfrm>
          <a:prstGeom prst="ellipse">
            <a:avLst/>
          </a:prstGeom>
          <a:solidFill>
            <a:srgbClr val="00A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Oval 32">
            <a:extLst>
              <a:ext uri="{FF2B5EF4-FFF2-40B4-BE49-F238E27FC236}">
                <a16:creationId xmlns:a16="http://schemas.microsoft.com/office/drawing/2014/main" id="{9E1F1668-DE2A-1835-6FB5-F5AAB6A80575}"/>
              </a:ext>
            </a:extLst>
          </p:cNvPr>
          <p:cNvSpPr/>
          <p:nvPr/>
        </p:nvSpPr>
        <p:spPr>
          <a:xfrm>
            <a:off x="3680594" y="4385225"/>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Oval 33">
            <a:extLst>
              <a:ext uri="{FF2B5EF4-FFF2-40B4-BE49-F238E27FC236}">
                <a16:creationId xmlns:a16="http://schemas.microsoft.com/office/drawing/2014/main" id="{D85F6978-5139-FC93-7965-09DF07AA7737}"/>
              </a:ext>
            </a:extLst>
          </p:cNvPr>
          <p:cNvSpPr/>
          <p:nvPr/>
        </p:nvSpPr>
        <p:spPr>
          <a:xfrm>
            <a:off x="10308574" y="2315997"/>
            <a:ext cx="497461" cy="497461"/>
          </a:xfrm>
          <a:prstGeom prst="ellipse">
            <a:avLst/>
          </a:prstGeom>
          <a:solidFill>
            <a:srgbClr val="00A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5" name="Oval 34">
            <a:extLst>
              <a:ext uri="{FF2B5EF4-FFF2-40B4-BE49-F238E27FC236}">
                <a16:creationId xmlns:a16="http://schemas.microsoft.com/office/drawing/2014/main" id="{64472ACC-5F5B-6AA6-38C0-CD6D05BEEAD1}"/>
              </a:ext>
            </a:extLst>
          </p:cNvPr>
          <p:cNvSpPr/>
          <p:nvPr/>
        </p:nvSpPr>
        <p:spPr>
          <a:xfrm>
            <a:off x="5890223" y="2315997"/>
            <a:ext cx="497461" cy="497461"/>
          </a:xfrm>
          <a:prstGeom prst="ellipse">
            <a:avLst/>
          </a:prstGeom>
          <a:solidFill>
            <a:srgbClr val="00A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7" name="Oval 36">
            <a:extLst>
              <a:ext uri="{FF2B5EF4-FFF2-40B4-BE49-F238E27FC236}">
                <a16:creationId xmlns:a16="http://schemas.microsoft.com/office/drawing/2014/main" id="{96ACEDCB-3A1F-35C7-77F0-E834FE341DBC}"/>
              </a:ext>
            </a:extLst>
          </p:cNvPr>
          <p:cNvSpPr/>
          <p:nvPr/>
        </p:nvSpPr>
        <p:spPr>
          <a:xfrm>
            <a:off x="5890223" y="4385225"/>
            <a:ext cx="497461" cy="497461"/>
          </a:xfrm>
          <a:prstGeom prst="ellipse">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Oval 37">
            <a:extLst>
              <a:ext uri="{FF2B5EF4-FFF2-40B4-BE49-F238E27FC236}">
                <a16:creationId xmlns:a16="http://schemas.microsoft.com/office/drawing/2014/main" id="{6F097D21-050F-723F-D87F-17D181EBCC76}"/>
              </a:ext>
            </a:extLst>
          </p:cNvPr>
          <p:cNvSpPr/>
          <p:nvPr/>
        </p:nvSpPr>
        <p:spPr>
          <a:xfrm>
            <a:off x="5890223" y="5413401"/>
            <a:ext cx="497461" cy="497461"/>
          </a:xfrm>
          <a:prstGeom prst="ellipse">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 name="Oval 38">
            <a:extLst>
              <a:ext uri="{FF2B5EF4-FFF2-40B4-BE49-F238E27FC236}">
                <a16:creationId xmlns:a16="http://schemas.microsoft.com/office/drawing/2014/main" id="{804ADFF6-0757-004A-77D2-04A70A895702}"/>
              </a:ext>
            </a:extLst>
          </p:cNvPr>
          <p:cNvSpPr/>
          <p:nvPr/>
        </p:nvSpPr>
        <p:spPr>
          <a:xfrm>
            <a:off x="5890223" y="3352179"/>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0" name="Oval 39">
            <a:extLst>
              <a:ext uri="{FF2B5EF4-FFF2-40B4-BE49-F238E27FC236}">
                <a16:creationId xmlns:a16="http://schemas.microsoft.com/office/drawing/2014/main" id="{2AD689B3-2B82-C46E-B093-C2B3F52F64DA}"/>
              </a:ext>
            </a:extLst>
          </p:cNvPr>
          <p:cNvSpPr/>
          <p:nvPr/>
        </p:nvSpPr>
        <p:spPr>
          <a:xfrm>
            <a:off x="8098945" y="4385225"/>
            <a:ext cx="497461" cy="497461"/>
          </a:xfrm>
          <a:prstGeom prst="ellipse">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Oval 40">
            <a:extLst>
              <a:ext uri="{FF2B5EF4-FFF2-40B4-BE49-F238E27FC236}">
                <a16:creationId xmlns:a16="http://schemas.microsoft.com/office/drawing/2014/main" id="{2BBEEFA3-94E6-9D00-1867-FA601AC2CED6}"/>
              </a:ext>
            </a:extLst>
          </p:cNvPr>
          <p:cNvSpPr/>
          <p:nvPr/>
        </p:nvSpPr>
        <p:spPr>
          <a:xfrm>
            <a:off x="10308574" y="4385225"/>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Oval 41">
            <a:extLst>
              <a:ext uri="{FF2B5EF4-FFF2-40B4-BE49-F238E27FC236}">
                <a16:creationId xmlns:a16="http://schemas.microsoft.com/office/drawing/2014/main" id="{0CA393DC-B80A-8D75-D5D6-B7CA2AF18AF0}"/>
              </a:ext>
            </a:extLst>
          </p:cNvPr>
          <p:cNvSpPr/>
          <p:nvPr/>
        </p:nvSpPr>
        <p:spPr>
          <a:xfrm>
            <a:off x="10308574" y="3352179"/>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Oval 45">
            <a:extLst>
              <a:ext uri="{FF2B5EF4-FFF2-40B4-BE49-F238E27FC236}">
                <a16:creationId xmlns:a16="http://schemas.microsoft.com/office/drawing/2014/main" id="{7E20BE75-68DA-81FD-058B-888FD4695415}"/>
              </a:ext>
            </a:extLst>
          </p:cNvPr>
          <p:cNvSpPr/>
          <p:nvPr/>
        </p:nvSpPr>
        <p:spPr>
          <a:xfrm>
            <a:off x="8098945" y="3352179"/>
            <a:ext cx="497461" cy="497461"/>
          </a:xfrm>
          <a:prstGeom prst="ellipse">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Oval 46">
            <a:extLst>
              <a:ext uri="{FF2B5EF4-FFF2-40B4-BE49-F238E27FC236}">
                <a16:creationId xmlns:a16="http://schemas.microsoft.com/office/drawing/2014/main" id="{8C560D18-2DB1-217B-42E9-09D2B4C7990A}"/>
              </a:ext>
            </a:extLst>
          </p:cNvPr>
          <p:cNvSpPr/>
          <p:nvPr/>
        </p:nvSpPr>
        <p:spPr>
          <a:xfrm>
            <a:off x="8098945" y="2315997"/>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8" name="Oval 47">
            <a:extLst>
              <a:ext uri="{FF2B5EF4-FFF2-40B4-BE49-F238E27FC236}">
                <a16:creationId xmlns:a16="http://schemas.microsoft.com/office/drawing/2014/main" id="{599CC86F-EBA7-D742-DDCE-B8D8660B3DC8}"/>
              </a:ext>
            </a:extLst>
          </p:cNvPr>
          <p:cNvSpPr/>
          <p:nvPr/>
        </p:nvSpPr>
        <p:spPr>
          <a:xfrm>
            <a:off x="10308574" y="5413401"/>
            <a:ext cx="497461" cy="497461"/>
          </a:xfrm>
          <a:prstGeom prst="ellipse">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9" name="Oval 48">
            <a:extLst>
              <a:ext uri="{FF2B5EF4-FFF2-40B4-BE49-F238E27FC236}">
                <a16:creationId xmlns:a16="http://schemas.microsoft.com/office/drawing/2014/main" id="{04BC2A52-4B5A-879B-45A9-9EC304CFC86C}"/>
              </a:ext>
            </a:extLst>
          </p:cNvPr>
          <p:cNvSpPr/>
          <p:nvPr/>
        </p:nvSpPr>
        <p:spPr>
          <a:xfrm>
            <a:off x="3680594" y="5413401"/>
            <a:ext cx="497461" cy="497461"/>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Oval 49">
            <a:extLst>
              <a:ext uri="{FF2B5EF4-FFF2-40B4-BE49-F238E27FC236}">
                <a16:creationId xmlns:a16="http://schemas.microsoft.com/office/drawing/2014/main" id="{022B7501-39DF-AB7C-04A7-BD3F1564F461}"/>
              </a:ext>
            </a:extLst>
          </p:cNvPr>
          <p:cNvSpPr/>
          <p:nvPr/>
        </p:nvSpPr>
        <p:spPr>
          <a:xfrm>
            <a:off x="10787975" y="499010"/>
            <a:ext cx="151744" cy="151744"/>
          </a:xfrm>
          <a:prstGeom prst="ellipse">
            <a:avLst/>
          </a:prstGeom>
          <a:solidFill>
            <a:srgbClr val="00A76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Oval 50">
            <a:extLst>
              <a:ext uri="{FF2B5EF4-FFF2-40B4-BE49-F238E27FC236}">
                <a16:creationId xmlns:a16="http://schemas.microsoft.com/office/drawing/2014/main" id="{98AE1A48-6F09-0FC0-3D98-CC9C51F53518}"/>
              </a:ext>
            </a:extLst>
          </p:cNvPr>
          <p:cNvSpPr/>
          <p:nvPr/>
        </p:nvSpPr>
        <p:spPr>
          <a:xfrm>
            <a:off x="10787975" y="988373"/>
            <a:ext cx="151744" cy="151744"/>
          </a:xfrm>
          <a:prstGeom prst="ellipse">
            <a:avLst/>
          </a:prstGeom>
          <a:solidFill>
            <a:srgbClr val="DE0A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Oval 51">
            <a:extLst>
              <a:ext uri="{FF2B5EF4-FFF2-40B4-BE49-F238E27FC236}">
                <a16:creationId xmlns:a16="http://schemas.microsoft.com/office/drawing/2014/main" id="{ACCD89D2-8B3B-5CC9-ED1E-2B6FAACDCCEE}"/>
              </a:ext>
            </a:extLst>
          </p:cNvPr>
          <p:cNvSpPr/>
          <p:nvPr/>
        </p:nvSpPr>
        <p:spPr>
          <a:xfrm>
            <a:off x="10787975" y="748273"/>
            <a:ext cx="151744" cy="151744"/>
          </a:xfrm>
          <a:prstGeom prst="ellipse">
            <a:avLst/>
          </a:prstGeom>
          <a:solidFill>
            <a:srgbClr val="F5AB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3" name="Rectangle 52">
            <a:extLst>
              <a:ext uri="{FF2B5EF4-FFF2-40B4-BE49-F238E27FC236}">
                <a16:creationId xmlns:a16="http://schemas.microsoft.com/office/drawing/2014/main" id="{4DE4B764-38DB-F194-EFFB-9100A6BA34F7}"/>
              </a:ext>
            </a:extLst>
          </p:cNvPr>
          <p:cNvSpPr/>
          <p:nvPr/>
        </p:nvSpPr>
        <p:spPr>
          <a:xfrm>
            <a:off x="10974944" y="457775"/>
            <a:ext cx="758269" cy="234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6F7878"/>
                </a:solidFill>
              </a:rPr>
              <a:t>Strong</a:t>
            </a:r>
          </a:p>
        </p:txBody>
      </p:sp>
      <p:sp>
        <p:nvSpPr>
          <p:cNvPr id="54" name="Rectangle 53">
            <a:extLst>
              <a:ext uri="{FF2B5EF4-FFF2-40B4-BE49-F238E27FC236}">
                <a16:creationId xmlns:a16="http://schemas.microsoft.com/office/drawing/2014/main" id="{25E11507-9835-E9B0-B14C-DEE381744B1C}"/>
              </a:ext>
            </a:extLst>
          </p:cNvPr>
          <p:cNvSpPr/>
          <p:nvPr/>
        </p:nvSpPr>
        <p:spPr>
          <a:xfrm>
            <a:off x="10974944" y="707038"/>
            <a:ext cx="758269" cy="234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6F7878"/>
                </a:solidFill>
              </a:rPr>
              <a:t>Average</a:t>
            </a:r>
          </a:p>
        </p:txBody>
      </p:sp>
      <p:sp>
        <p:nvSpPr>
          <p:cNvPr id="55" name="Rectangle 54">
            <a:extLst>
              <a:ext uri="{FF2B5EF4-FFF2-40B4-BE49-F238E27FC236}">
                <a16:creationId xmlns:a16="http://schemas.microsoft.com/office/drawing/2014/main" id="{885716AA-7330-5768-946F-EB71896F665F}"/>
              </a:ext>
            </a:extLst>
          </p:cNvPr>
          <p:cNvSpPr/>
          <p:nvPr/>
        </p:nvSpPr>
        <p:spPr>
          <a:xfrm>
            <a:off x="10974944" y="947138"/>
            <a:ext cx="758269" cy="234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dirty="0">
                <a:solidFill>
                  <a:srgbClr val="6F7878"/>
                </a:solidFill>
              </a:rPr>
              <a:t>Weak</a:t>
            </a:r>
          </a:p>
        </p:txBody>
      </p:sp>
    </p:spTree>
    <p:extLst>
      <p:ext uri="{BB962C8B-B14F-4D97-AF65-F5344CB8AC3E}">
        <p14:creationId xmlns:p14="http://schemas.microsoft.com/office/powerpoint/2010/main" val="2015342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fade">
                                      <p:cBhvr>
                                        <p:cTn id="39" dur="500"/>
                                        <p:tgtEl>
                                          <p:spTgt spid="4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6"/>
                                        </p:tgtEl>
                                        <p:attrNameLst>
                                          <p:attrName>style.visibility</p:attrName>
                                        </p:attrNameLst>
                                      </p:cBhvr>
                                      <p:to>
                                        <p:strVal val="visible"/>
                                      </p:to>
                                    </p:set>
                                    <p:animEffect transition="in" filter="fade">
                                      <p:cBhvr>
                                        <p:cTn id="42" dur="500"/>
                                        <p:tgtEl>
                                          <p:spTgt spid="4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500"/>
                                        <p:tgtEl>
                                          <p:spTgt spid="5"/>
                                        </p:tgtEl>
                                      </p:cBhvr>
                                    </p:animEffect>
                                  </p:childTnLst>
                                </p:cTn>
                              </p:par>
                              <p:par>
                                <p:cTn id="48" presetID="10" presetClass="entr" presetSubtype="0" fill="hold"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500"/>
                                        <p:tgtEl>
                                          <p:spTgt spid="4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1"/>
                                        </p:tgtEl>
                                        <p:attrNameLst>
                                          <p:attrName>style.visibility</p:attrName>
                                        </p:attrNameLst>
                                      </p:cBhvr>
                                      <p:to>
                                        <p:strVal val="visible"/>
                                      </p:to>
                                    </p:set>
                                    <p:animEffect transition="in" filter="fade">
                                      <p:cBhvr>
                                        <p:cTn id="62" dur="500"/>
                                        <p:tgtEl>
                                          <p:spTgt spid="41"/>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fade">
                                      <p:cBhvr>
                                        <p:cTn id="67" dur="500"/>
                                        <p:tgtEl>
                                          <p:spTgt spid="6"/>
                                        </p:tgtEl>
                                      </p:cBhvr>
                                    </p:animEffect>
                                  </p:childTnLst>
                                </p:cTn>
                              </p:par>
                              <p:par>
                                <p:cTn id="68" presetID="10" presetClass="entr" presetSubtype="0" fill="hold" nodeType="with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500"/>
                                        <p:tgtEl>
                                          <p:spTgt spid="2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500"/>
                                        <p:tgtEl>
                                          <p:spTgt spid="2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fade">
                                      <p:cBhvr>
                                        <p:cTn id="76" dur="500"/>
                                        <p:tgtEl>
                                          <p:spTgt spid="3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8"/>
                                        </p:tgtEl>
                                        <p:attrNameLst>
                                          <p:attrName>style.visibility</p:attrName>
                                        </p:attrNameLst>
                                      </p:cBhvr>
                                      <p:to>
                                        <p:strVal val="visible"/>
                                      </p:to>
                                    </p:set>
                                    <p:animEffect transition="in" filter="fade">
                                      <p:cBhvr>
                                        <p:cTn id="79" dur="500"/>
                                        <p:tgtEl>
                                          <p:spTgt spid="48"/>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9"/>
                                        </p:tgtEl>
                                        <p:attrNameLst>
                                          <p:attrName>style.visibility</p:attrName>
                                        </p:attrNameLst>
                                      </p:cBhvr>
                                      <p:to>
                                        <p:strVal val="visible"/>
                                      </p:to>
                                    </p:set>
                                    <p:animEffect transition="in" filter="fade">
                                      <p:cBhvr>
                                        <p:cTn id="8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19" grpId="0" animBg="1"/>
      <p:bldP spid="28" grpId="0" animBg="1"/>
      <p:bldP spid="29" grpId="0" animBg="1"/>
      <p:bldP spid="33" grpId="0" animBg="1"/>
      <p:bldP spid="34" grpId="0" animBg="1"/>
      <p:bldP spid="35" grpId="0" animBg="1"/>
      <p:bldP spid="37" grpId="0" animBg="1"/>
      <p:bldP spid="38" grpId="0" animBg="1"/>
      <p:bldP spid="39" grpId="0" animBg="1"/>
      <p:bldP spid="40" grpId="0" animBg="1"/>
      <p:bldP spid="41" grpId="0" animBg="1"/>
      <p:bldP spid="42" grpId="0" animBg="1"/>
      <p:bldP spid="46" grpId="0" animBg="1"/>
      <p:bldP spid="47" grpId="0" animBg="1"/>
      <p:bldP spid="48" grpId="0" animBg="1"/>
      <p:bldP spid="4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5A34D3-9051-8E69-08A5-50753CB7F1F2}"/>
              </a:ext>
            </a:extLst>
          </p:cNvPr>
          <p:cNvSpPr/>
          <p:nvPr/>
        </p:nvSpPr>
        <p:spPr>
          <a:xfrm>
            <a:off x="6095205" y="1427707"/>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sed on ambition and oversight</a:t>
            </a:r>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sz="1800" dirty="0">
                <a:solidFill>
                  <a:srgbClr val="002856"/>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sz="1800" dirty="0">
                <a:solidFill>
                  <a:srgbClr val="BDBDBD"/>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71617"/>
            <a:ext cx="3524672" cy="369332"/>
          </a:xfrm>
          <a:prstGeom prst="rect">
            <a:avLst/>
          </a:prstGeom>
          <a:noFill/>
        </p:spPr>
        <p:txBody>
          <a:bodyPr wrap="square">
            <a:spAutoFit/>
          </a:bodyPr>
          <a:lstStyle/>
          <a:p>
            <a:pPr>
              <a:spcAft>
                <a:spcPts val="600"/>
              </a:spcAft>
            </a:pPr>
            <a:r>
              <a:rPr lang="en-US" sz="1800" dirty="0">
                <a:solidFill>
                  <a:srgbClr val="BDBDBD"/>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sz="1800" dirty="0">
                <a:solidFill>
                  <a:srgbClr val="BDBDBD"/>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sz="1800" dirty="0">
                <a:solidFill>
                  <a:srgbClr val="BDBDBD"/>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8" name="Circle">
            <a:extLst>
              <a:ext uri="{FF2B5EF4-FFF2-40B4-BE49-F238E27FC236}">
                <a16:creationId xmlns:a16="http://schemas.microsoft.com/office/drawing/2014/main" id="{7D83B7EE-C009-2540-245A-A4DC3DC823C0}"/>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Circle">
            <a:extLst>
              <a:ext uri="{FF2B5EF4-FFF2-40B4-BE49-F238E27FC236}">
                <a16:creationId xmlns:a16="http://schemas.microsoft.com/office/drawing/2014/main" id="{7318FB26-C7C9-D6C2-AEF7-52BF521298C9}"/>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BDBDBD"/>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1</a:t>
            </a:r>
            <a:endParaRPr sz="3200" b="1" dirty="0">
              <a:latin typeface="+mj-lt"/>
            </a:endParaRPr>
          </a:p>
        </p:txBody>
      </p:sp>
      <p:sp>
        <p:nvSpPr>
          <p:cNvPr id="16" name="Isosceles Triangle 15">
            <a:extLst>
              <a:ext uri="{FF2B5EF4-FFF2-40B4-BE49-F238E27FC236}">
                <a16:creationId xmlns:a16="http://schemas.microsoft.com/office/drawing/2014/main" id="{C7256DB8-C869-1E30-DDC3-A11AB967E14E}"/>
              </a:ext>
            </a:extLst>
          </p:cNvPr>
          <p:cNvSpPr/>
          <p:nvPr/>
        </p:nvSpPr>
        <p:spPr>
          <a:xfrm rot="5400000">
            <a:off x="5987476" y="1544901"/>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002856"/>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2</a:t>
            </a:r>
            <a:endParaRPr sz="3200" b="1" dirty="0">
              <a:latin typeface="+mj-lt"/>
            </a:endParaRPr>
          </a:p>
        </p:txBody>
      </p:sp>
      <p:sp>
        <p:nvSpPr>
          <p:cNvPr id="13" name="TextBox 12">
            <a:extLst>
              <a:ext uri="{FF2B5EF4-FFF2-40B4-BE49-F238E27FC236}">
                <a16:creationId xmlns:a16="http://schemas.microsoft.com/office/drawing/2014/main" id="{392B29A2-474A-BA08-BE90-78AA10078512}"/>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rgbClr val="BDBDBD"/>
                </a:solidFill>
                <a:latin typeface="+mj-lt"/>
              </a:rPr>
              <a:t>Define Outcomes and Capabilities</a:t>
            </a:r>
          </a:p>
        </p:txBody>
      </p:sp>
    </p:spTree>
    <p:extLst>
      <p:ext uri="{BB962C8B-B14F-4D97-AF65-F5344CB8AC3E}">
        <p14:creationId xmlns:p14="http://schemas.microsoft.com/office/powerpoint/2010/main" val="3466016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Isosceles Triangle 131">
            <a:extLst>
              <a:ext uri="{FF2B5EF4-FFF2-40B4-BE49-F238E27FC236}">
                <a16:creationId xmlns:a16="http://schemas.microsoft.com/office/drawing/2014/main" id="{2036BE22-2C62-CE00-C3EB-7B774CD6118C}"/>
              </a:ext>
            </a:extLst>
          </p:cNvPr>
          <p:cNvSpPr/>
          <p:nvPr/>
        </p:nvSpPr>
        <p:spPr>
          <a:xfrm flipV="1">
            <a:off x="7440964" y="1997455"/>
            <a:ext cx="2443555" cy="3544518"/>
          </a:xfrm>
          <a:prstGeom prst="triangle">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 name="Rectangle 14">
            <a:extLst>
              <a:ext uri="{FF2B5EF4-FFF2-40B4-BE49-F238E27FC236}">
                <a16:creationId xmlns:a16="http://schemas.microsoft.com/office/drawing/2014/main" id="{C27FE043-DF42-5A34-9666-6DCA8A22CE93}"/>
              </a:ext>
            </a:extLst>
          </p:cNvPr>
          <p:cNvSpPr/>
          <p:nvPr/>
        </p:nvSpPr>
        <p:spPr>
          <a:xfrm>
            <a:off x="457200" y="1559070"/>
            <a:ext cx="4824243" cy="4575127"/>
          </a:xfrm>
          <a:prstGeom prst="rect">
            <a:avLst/>
          </a:prstGeom>
          <a:solidFill>
            <a:schemeClr val="bg1"/>
          </a:solidFill>
          <a:ln w="254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1" name="Group 130">
            <a:extLst>
              <a:ext uri="{FF2B5EF4-FFF2-40B4-BE49-F238E27FC236}">
                <a16:creationId xmlns:a16="http://schemas.microsoft.com/office/drawing/2014/main" id="{3683F77E-C67B-4B06-5DCA-8C09C6FFBC92}"/>
              </a:ext>
            </a:extLst>
          </p:cNvPr>
          <p:cNvGrpSpPr/>
          <p:nvPr/>
        </p:nvGrpSpPr>
        <p:grpSpPr>
          <a:xfrm>
            <a:off x="664116" y="1674262"/>
            <a:ext cx="4417621" cy="4285420"/>
            <a:chOff x="664116" y="1674262"/>
            <a:chExt cx="4417621" cy="4285420"/>
          </a:xfrm>
        </p:grpSpPr>
        <p:sp>
          <p:nvSpPr>
            <p:cNvPr id="21" name="Oval 20">
              <a:extLst>
                <a:ext uri="{FF2B5EF4-FFF2-40B4-BE49-F238E27FC236}">
                  <a16:creationId xmlns:a16="http://schemas.microsoft.com/office/drawing/2014/main" id="{17FB67D4-B856-DC1E-6659-3CD859F02635}"/>
                </a:ext>
              </a:extLst>
            </p:cNvPr>
            <p:cNvSpPr/>
            <p:nvPr/>
          </p:nvSpPr>
          <p:spPr>
            <a:xfrm>
              <a:off x="851337" y="230225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7CC90118-2BD7-B3FD-5645-8D89F43D5DCD}"/>
                </a:ext>
              </a:extLst>
            </p:cNvPr>
            <p:cNvSpPr/>
            <p:nvPr/>
          </p:nvSpPr>
          <p:spPr>
            <a:xfrm>
              <a:off x="1713185" y="189296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Oval 23">
              <a:extLst>
                <a:ext uri="{FF2B5EF4-FFF2-40B4-BE49-F238E27FC236}">
                  <a16:creationId xmlns:a16="http://schemas.microsoft.com/office/drawing/2014/main" id="{FFAA068C-2817-8497-4B21-63ED1B6D4947}"/>
                </a:ext>
              </a:extLst>
            </p:cNvPr>
            <p:cNvSpPr/>
            <p:nvPr/>
          </p:nvSpPr>
          <p:spPr>
            <a:xfrm>
              <a:off x="1560785" y="262930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81C4C21E-5C1F-858F-5BF5-E4271B5777E1}"/>
                </a:ext>
              </a:extLst>
            </p:cNvPr>
            <p:cNvSpPr/>
            <p:nvPr/>
          </p:nvSpPr>
          <p:spPr>
            <a:xfrm>
              <a:off x="1156137" y="31311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Oval 25">
              <a:extLst>
                <a:ext uri="{FF2B5EF4-FFF2-40B4-BE49-F238E27FC236}">
                  <a16:creationId xmlns:a16="http://schemas.microsoft.com/office/drawing/2014/main" id="{48E92B58-B7D6-A75C-4555-024E6A21DEF5}"/>
                </a:ext>
              </a:extLst>
            </p:cNvPr>
            <p:cNvSpPr/>
            <p:nvPr/>
          </p:nvSpPr>
          <p:spPr>
            <a:xfrm>
              <a:off x="1560785" y="345436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Oval 26">
              <a:extLst>
                <a:ext uri="{FF2B5EF4-FFF2-40B4-BE49-F238E27FC236}">
                  <a16:creationId xmlns:a16="http://schemas.microsoft.com/office/drawing/2014/main" id="{E41D7944-100A-820B-33B5-C4778522B225}"/>
                </a:ext>
              </a:extLst>
            </p:cNvPr>
            <p:cNvSpPr/>
            <p:nvPr/>
          </p:nvSpPr>
          <p:spPr>
            <a:xfrm>
              <a:off x="2159874" y="29787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Oval 27">
              <a:extLst>
                <a:ext uri="{FF2B5EF4-FFF2-40B4-BE49-F238E27FC236}">
                  <a16:creationId xmlns:a16="http://schemas.microsoft.com/office/drawing/2014/main" id="{1B12D875-943D-7893-3B91-1137F745230F}"/>
                </a:ext>
              </a:extLst>
            </p:cNvPr>
            <p:cNvSpPr/>
            <p:nvPr/>
          </p:nvSpPr>
          <p:spPr>
            <a:xfrm>
              <a:off x="2406866" y="232450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F77C3424-B88B-2967-DF2A-BCA6CC6599E4}"/>
                </a:ext>
              </a:extLst>
            </p:cNvPr>
            <p:cNvSpPr/>
            <p:nvPr/>
          </p:nvSpPr>
          <p:spPr>
            <a:xfrm>
              <a:off x="2496206" y="182666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Oval 29">
              <a:extLst>
                <a:ext uri="{FF2B5EF4-FFF2-40B4-BE49-F238E27FC236}">
                  <a16:creationId xmlns:a16="http://schemas.microsoft.com/office/drawing/2014/main" id="{729DE940-3178-827A-A051-8F486C15A5F5}"/>
                </a:ext>
              </a:extLst>
            </p:cNvPr>
            <p:cNvSpPr/>
            <p:nvPr/>
          </p:nvSpPr>
          <p:spPr>
            <a:xfrm>
              <a:off x="3205654" y="2153711"/>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1" name="Oval 30">
              <a:extLst>
                <a:ext uri="{FF2B5EF4-FFF2-40B4-BE49-F238E27FC236}">
                  <a16:creationId xmlns:a16="http://schemas.microsoft.com/office/drawing/2014/main" id="{1B8E3981-FCA2-37E6-B3F1-27D1B370B5DB}"/>
                </a:ext>
              </a:extLst>
            </p:cNvPr>
            <p:cNvSpPr/>
            <p:nvPr/>
          </p:nvSpPr>
          <p:spPr>
            <a:xfrm>
              <a:off x="2801006" y="265558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Oval 31">
              <a:extLst>
                <a:ext uri="{FF2B5EF4-FFF2-40B4-BE49-F238E27FC236}">
                  <a16:creationId xmlns:a16="http://schemas.microsoft.com/office/drawing/2014/main" id="{F7FFB89C-6672-09E9-9C2E-AAC05577D8D5}"/>
                </a:ext>
              </a:extLst>
            </p:cNvPr>
            <p:cNvSpPr/>
            <p:nvPr/>
          </p:nvSpPr>
          <p:spPr>
            <a:xfrm>
              <a:off x="3205654" y="29787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Oval 32">
              <a:extLst>
                <a:ext uri="{FF2B5EF4-FFF2-40B4-BE49-F238E27FC236}">
                  <a16:creationId xmlns:a16="http://schemas.microsoft.com/office/drawing/2014/main" id="{A33D5B60-8E36-ABD1-6C52-1DCE325AFEFA}"/>
                </a:ext>
              </a:extLst>
            </p:cNvPr>
            <p:cNvSpPr/>
            <p:nvPr/>
          </p:nvSpPr>
          <p:spPr>
            <a:xfrm>
              <a:off x="856591" y="404193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4" name="Oval 33">
              <a:extLst>
                <a:ext uri="{FF2B5EF4-FFF2-40B4-BE49-F238E27FC236}">
                  <a16:creationId xmlns:a16="http://schemas.microsoft.com/office/drawing/2014/main" id="{481F0906-24CC-6AEC-B324-EF170C58C4ED}"/>
                </a:ext>
              </a:extLst>
            </p:cNvPr>
            <p:cNvSpPr/>
            <p:nvPr/>
          </p:nvSpPr>
          <p:spPr>
            <a:xfrm>
              <a:off x="1550272" y="447347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Oval 34">
              <a:extLst>
                <a:ext uri="{FF2B5EF4-FFF2-40B4-BE49-F238E27FC236}">
                  <a16:creationId xmlns:a16="http://schemas.microsoft.com/office/drawing/2014/main" id="{AB202E9D-0786-6C40-B088-17A38F11A8B8}"/>
                </a:ext>
              </a:extLst>
            </p:cNvPr>
            <p:cNvSpPr/>
            <p:nvPr/>
          </p:nvSpPr>
          <p:spPr>
            <a:xfrm>
              <a:off x="1639612" y="397563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Oval 35">
              <a:extLst>
                <a:ext uri="{FF2B5EF4-FFF2-40B4-BE49-F238E27FC236}">
                  <a16:creationId xmlns:a16="http://schemas.microsoft.com/office/drawing/2014/main" id="{9327EC4D-E052-5C53-6B32-CF92D272371F}"/>
                </a:ext>
              </a:extLst>
            </p:cNvPr>
            <p:cNvSpPr/>
            <p:nvPr/>
          </p:nvSpPr>
          <p:spPr>
            <a:xfrm>
              <a:off x="2349060" y="430268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7" name="Oval 36">
              <a:extLst>
                <a:ext uri="{FF2B5EF4-FFF2-40B4-BE49-F238E27FC236}">
                  <a16:creationId xmlns:a16="http://schemas.microsoft.com/office/drawing/2014/main" id="{59682442-0840-AE08-219A-E647AE998B9C}"/>
                </a:ext>
              </a:extLst>
            </p:cNvPr>
            <p:cNvSpPr/>
            <p:nvPr/>
          </p:nvSpPr>
          <p:spPr>
            <a:xfrm>
              <a:off x="1944412" y="480455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a:extLst>
                <a:ext uri="{FF2B5EF4-FFF2-40B4-BE49-F238E27FC236}">
                  <a16:creationId xmlns:a16="http://schemas.microsoft.com/office/drawing/2014/main" id="{7B029A1C-8F6B-4297-9E87-51720938A66E}"/>
                </a:ext>
              </a:extLst>
            </p:cNvPr>
            <p:cNvSpPr/>
            <p:nvPr/>
          </p:nvSpPr>
          <p:spPr>
            <a:xfrm>
              <a:off x="2349060" y="512774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9" name="Oval 38">
              <a:extLst>
                <a:ext uri="{FF2B5EF4-FFF2-40B4-BE49-F238E27FC236}">
                  <a16:creationId xmlns:a16="http://schemas.microsoft.com/office/drawing/2014/main" id="{51BE0D09-F49B-49B9-4067-CA211D22EBA0}"/>
                </a:ext>
              </a:extLst>
            </p:cNvPr>
            <p:cNvSpPr/>
            <p:nvPr/>
          </p:nvSpPr>
          <p:spPr>
            <a:xfrm>
              <a:off x="2622326" y="363102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Oval 39">
              <a:extLst>
                <a:ext uri="{FF2B5EF4-FFF2-40B4-BE49-F238E27FC236}">
                  <a16:creationId xmlns:a16="http://schemas.microsoft.com/office/drawing/2014/main" id="{F276B64D-71C7-2311-E6E7-AC3A25A1AA34}"/>
                </a:ext>
              </a:extLst>
            </p:cNvPr>
            <p:cNvSpPr/>
            <p:nvPr/>
          </p:nvSpPr>
          <p:spPr>
            <a:xfrm>
              <a:off x="3316007" y="406256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1" name="Oval 40">
              <a:extLst>
                <a:ext uri="{FF2B5EF4-FFF2-40B4-BE49-F238E27FC236}">
                  <a16:creationId xmlns:a16="http://schemas.microsoft.com/office/drawing/2014/main" id="{0B29C6D9-61BF-E7D3-6853-06B4FB42B932}"/>
                </a:ext>
              </a:extLst>
            </p:cNvPr>
            <p:cNvSpPr/>
            <p:nvPr/>
          </p:nvSpPr>
          <p:spPr>
            <a:xfrm>
              <a:off x="3405347" y="356472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Oval 41">
              <a:extLst>
                <a:ext uri="{FF2B5EF4-FFF2-40B4-BE49-F238E27FC236}">
                  <a16:creationId xmlns:a16="http://schemas.microsoft.com/office/drawing/2014/main" id="{D026A2E6-EC54-BF67-6A1A-3678820A6E52}"/>
                </a:ext>
              </a:extLst>
            </p:cNvPr>
            <p:cNvSpPr/>
            <p:nvPr/>
          </p:nvSpPr>
          <p:spPr>
            <a:xfrm>
              <a:off x="4114795" y="38917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Oval 42">
              <a:extLst>
                <a:ext uri="{FF2B5EF4-FFF2-40B4-BE49-F238E27FC236}">
                  <a16:creationId xmlns:a16="http://schemas.microsoft.com/office/drawing/2014/main" id="{41933CE1-2D0D-DC75-9C59-6FF403C5929C}"/>
                </a:ext>
              </a:extLst>
            </p:cNvPr>
            <p:cNvSpPr/>
            <p:nvPr/>
          </p:nvSpPr>
          <p:spPr>
            <a:xfrm>
              <a:off x="3710147" y="439364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4" name="Oval 43">
              <a:extLst>
                <a:ext uri="{FF2B5EF4-FFF2-40B4-BE49-F238E27FC236}">
                  <a16:creationId xmlns:a16="http://schemas.microsoft.com/office/drawing/2014/main" id="{CBAA2E35-3DCF-40D3-A4F4-21ED49C4B4D9}"/>
                </a:ext>
              </a:extLst>
            </p:cNvPr>
            <p:cNvSpPr/>
            <p:nvPr/>
          </p:nvSpPr>
          <p:spPr>
            <a:xfrm>
              <a:off x="4114795" y="471683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5" name="Oval 44">
              <a:extLst>
                <a:ext uri="{FF2B5EF4-FFF2-40B4-BE49-F238E27FC236}">
                  <a16:creationId xmlns:a16="http://schemas.microsoft.com/office/drawing/2014/main" id="{8B000695-2CBB-DF47-CD9F-3EC58D02A959}"/>
                </a:ext>
              </a:extLst>
            </p:cNvPr>
            <p:cNvSpPr/>
            <p:nvPr/>
          </p:nvSpPr>
          <p:spPr>
            <a:xfrm>
              <a:off x="4067502" y="167426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 name="Oval 47">
              <a:extLst>
                <a:ext uri="{FF2B5EF4-FFF2-40B4-BE49-F238E27FC236}">
                  <a16:creationId xmlns:a16="http://schemas.microsoft.com/office/drawing/2014/main" id="{100534BD-B8C1-7DA3-A1E4-58194DB9C9DD}"/>
                </a:ext>
              </a:extLst>
            </p:cNvPr>
            <p:cNvSpPr/>
            <p:nvPr/>
          </p:nvSpPr>
          <p:spPr>
            <a:xfrm>
              <a:off x="4472150" y="199745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 name="Oval 49">
              <a:extLst>
                <a:ext uri="{FF2B5EF4-FFF2-40B4-BE49-F238E27FC236}">
                  <a16:creationId xmlns:a16="http://schemas.microsoft.com/office/drawing/2014/main" id="{FA76FB05-E6C3-95DF-A875-169E74B3FBE3}"/>
                </a:ext>
              </a:extLst>
            </p:cNvPr>
            <p:cNvSpPr/>
            <p:nvPr/>
          </p:nvSpPr>
          <p:spPr>
            <a:xfrm>
              <a:off x="3888822" y="264971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 name="Oval 51">
              <a:extLst>
                <a:ext uri="{FF2B5EF4-FFF2-40B4-BE49-F238E27FC236}">
                  <a16:creationId xmlns:a16="http://schemas.microsoft.com/office/drawing/2014/main" id="{D3742685-09B7-7B39-E393-D48DD6B3F1A8}"/>
                </a:ext>
              </a:extLst>
            </p:cNvPr>
            <p:cNvSpPr/>
            <p:nvPr/>
          </p:nvSpPr>
          <p:spPr>
            <a:xfrm>
              <a:off x="4582503" y="308124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Oval 52">
              <a:extLst>
                <a:ext uri="{FF2B5EF4-FFF2-40B4-BE49-F238E27FC236}">
                  <a16:creationId xmlns:a16="http://schemas.microsoft.com/office/drawing/2014/main" id="{F4F2CE30-1236-25BD-F4AE-0A88E6202AAD}"/>
                </a:ext>
              </a:extLst>
            </p:cNvPr>
            <p:cNvSpPr/>
            <p:nvPr/>
          </p:nvSpPr>
          <p:spPr>
            <a:xfrm>
              <a:off x="4671843" y="258340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Oval 70">
              <a:extLst>
                <a:ext uri="{FF2B5EF4-FFF2-40B4-BE49-F238E27FC236}">
                  <a16:creationId xmlns:a16="http://schemas.microsoft.com/office/drawing/2014/main" id="{719D62A7-3459-6253-2C23-C9CEE43652F4}"/>
                </a:ext>
              </a:extLst>
            </p:cNvPr>
            <p:cNvSpPr/>
            <p:nvPr/>
          </p:nvSpPr>
          <p:spPr>
            <a:xfrm>
              <a:off x="4629800" y="356052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Oval 71">
              <a:extLst>
                <a:ext uri="{FF2B5EF4-FFF2-40B4-BE49-F238E27FC236}">
                  <a16:creationId xmlns:a16="http://schemas.microsoft.com/office/drawing/2014/main" id="{59AC502C-4ECD-DE6B-D30E-E528759CBABA}"/>
                </a:ext>
              </a:extLst>
            </p:cNvPr>
            <p:cNvSpPr/>
            <p:nvPr/>
          </p:nvSpPr>
          <p:spPr>
            <a:xfrm>
              <a:off x="4687602" y="418728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4" name="Oval 93">
              <a:extLst>
                <a:ext uri="{FF2B5EF4-FFF2-40B4-BE49-F238E27FC236}">
                  <a16:creationId xmlns:a16="http://schemas.microsoft.com/office/drawing/2014/main" id="{8AC6C429-93D5-AA0D-D86A-FA516A9A0EAB}"/>
                </a:ext>
              </a:extLst>
            </p:cNvPr>
            <p:cNvSpPr/>
            <p:nvPr/>
          </p:nvSpPr>
          <p:spPr>
            <a:xfrm>
              <a:off x="3415850" y="5486937"/>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5" name="Oval 94">
              <a:extLst>
                <a:ext uri="{FF2B5EF4-FFF2-40B4-BE49-F238E27FC236}">
                  <a16:creationId xmlns:a16="http://schemas.microsoft.com/office/drawing/2014/main" id="{7CFF7F72-F6AF-5E52-090A-D72A13E21076}"/>
                </a:ext>
              </a:extLst>
            </p:cNvPr>
            <p:cNvSpPr/>
            <p:nvPr/>
          </p:nvSpPr>
          <p:spPr>
            <a:xfrm>
              <a:off x="3739046" y="499413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0" name="Oval 99">
              <a:extLst>
                <a:ext uri="{FF2B5EF4-FFF2-40B4-BE49-F238E27FC236}">
                  <a16:creationId xmlns:a16="http://schemas.microsoft.com/office/drawing/2014/main" id="{2714F40F-F4B1-2E51-3BBA-FDD0AEF93318}"/>
                </a:ext>
              </a:extLst>
            </p:cNvPr>
            <p:cNvSpPr/>
            <p:nvPr/>
          </p:nvSpPr>
          <p:spPr>
            <a:xfrm>
              <a:off x="4382797" y="524682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2" name="Oval 101">
              <a:extLst>
                <a:ext uri="{FF2B5EF4-FFF2-40B4-BE49-F238E27FC236}">
                  <a16:creationId xmlns:a16="http://schemas.microsoft.com/office/drawing/2014/main" id="{B055701C-1BC7-4FAA-94EB-4E291DA246A5}"/>
                </a:ext>
              </a:extLst>
            </p:cNvPr>
            <p:cNvSpPr/>
            <p:nvPr/>
          </p:nvSpPr>
          <p:spPr>
            <a:xfrm>
              <a:off x="4713877" y="4767149"/>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Oval 102">
              <a:extLst>
                <a:ext uri="{FF2B5EF4-FFF2-40B4-BE49-F238E27FC236}">
                  <a16:creationId xmlns:a16="http://schemas.microsoft.com/office/drawing/2014/main" id="{1C55BE68-3479-AC69-7C05-2EEF0C6394ED}"/>
                </a:ext>
              </a:extLst>
            </p:cNvPr>
            <p:cNvSpPr/>
            <p:nvPr/>
          </p:nvSpPr>
          <p:spPr>
            <a:xfrm>
              <a:off x="4776937" y="557789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4" name="Oval 103">
              <a:extLst>
                <a:ext uri="{FF2B5EF4-FFF2-40B4-BE49-F238E27FC236}">
                  <a16:creationId xmlns:a16="http://schemas.microsoft.com/office/drawing/2014/main" id="{D5AA6D3A-56FD-AF24-031D-2BD2F7DF86FE}"/>
                </a:ext>
              </a:extLst>
            </p:cNvPr>
            <p:cNvSpPr/>
            <p:nvPr/>
          </p:nvSpPr>
          <p:spPr>
            <a:xfrm>
              <a:off x="927544" y="504204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5" name="Oval 104">
              <a:extLst>
                <a:ext uri="{FF2B5EF4-FFF2-40B4-BE49-F238E27FC236}">
                  <a16:creationId xmlns:a16="http://schemas.microsoft.com/office/drawing/2014/main" id="{A47A5282-7179-B086-4155-EFEA64003663}"/>
                </a:ext>
              </a:extLst>
            </p:cNvPr>
            <p:cNvSpPr/>
            <p:nvPr/>
          </p:nvSpPr>
          <p:spPr>
            <a:xfrm>
              <a:off x="3243752" y="483494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6" name="Oval 105">
              <a:extLst>
                <a:ext uri="{FF2B5EF4-FFF2-40B4-BE49-F238E27FC236}">
                  <a16:creationId xmlns:a16="http://schemas.microsoft.com/office/drawing/2014/main" id="{F3830F33-38B4-AB8A-BC2F-A3841CC47E41}"/>
                </a:ext>
              </a:extLst>
            </p:cNvPr>
            <p:cNvSpPr/>
            <p:nvPr/>
          </p:nvSpPr>
          <p:spPr>
            <a:xfrm>
              <a:off x="881568" y="453259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7" name="Oval 106">
              <a:extLst>
                <a:ext uri="{FF2B5EF4-FFF2-40B4-BE49-F238E27FC236}">
                  <a16:creationId xmlns:a16="http://schemas.microsoft.com/office/drawing/2014/main" id="{E042844B-D633-C373-C2F0-40CD0C391B56}"/>
                </a:ext>
              </a:extLst>
            </p:cNvPr>
            <p:cNvSpPr/>
            <p:nvPr/>
          </p:nvSpPr>
          <p:spPr>
            <a:xfrm>
              <a:off x="1459619" y="535008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8" name="Oval 107">
              <a:extLst>
                <a:ext uri="{FF2B5EF4-FFF2-40B4-BE49-F238E27FC236}">
                  <a16:creationId xmlns:a16="http://schemas.microsoft.com/office/drawing/2014/main" id="{55CEEFEA-F876-7EC5-1C76-2B9AFFFF7684}"/>
                </a:ext>
              </a:extLst>
            </p:cNvPr>
            <p:cNvSpPr/>
            <p:nvPr/>
          </p:nvSpPr>
          <p:spPr>
            <a:xfrm>
              <a:off x="2222934" y="562961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9" name="Oval 108">
              <a:extLst>
                <a:ext uri="{FF2B5EF4-FFF2-40B4-BE49-F238E27FC236}">
                  <a16:creationId xmlns:a16="http://schemas.microsoft.com/office/drawing/2014/main" id="{11840D68-F8C5-2940-7231-D1687925BBC8}"/>
                </a:ext>
              </a:extLst>
            </p:cNvPr>
            <p:cNvSpPr/>
            <p:nvPr/>
          </p:nvSpPr>
          <p:spPr>
            <a:xfrm>
              <a:off x="2879830" y="445508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Oval 111">
              <a:extLst>
                <a:ext uri="{FF2B5EF4-FFF2-40B4-BE49-F238E27FC236}">
                  <a16:creationId xmlns:a16="http://schemas.microsoft.com/office/drawing/2014/main" id="{C205E9A3-F8F7-A1DB-0A0A-A4FD18421689}"/>
                </a:ext>
              </a:extLst>
            </p:cNvPr>
            <p:cNvSpPr/>
            <p:nvPr/>
          </p:nvSpPr>
          <p:spPr>
            <a:xfrm>
              <a:off x="769869" y="3506611"/>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Oval 112">
              <a:extLst>
                <a:ext uri="{FF2B5EF4-FFF2-40B4-BE49-F238E27FC236}">
                  <a16:creationId xmlns:a16="http://schemas.microsoft.com/office/drawing/2014/main" id="{24B1920D-E6B8-EF33-C1ED-2D488E49BC16}"/>
                </a:ext>
              </a:extLst>
            </p:cNvPr>
            <p:cNvSpPr/>
            <p:nvPr/>
          </p:nvSpPr>
          <p:spPr>
            <a:xfrm>
              <a:off x="861847" y="565488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Oval 113">
              <a:extLst>
                <a:ext uri="{FF2B5EF4-FFF2-40B4-BE49-F238E27FC236}">
                  <a16:creationId xmlns:a16="http://schemas.microsoft.com/office/drawing/2014/main" id="{5B9E9797-FDC2-11C3-BA64-72C96490A620}"/>
                </a:ext>
              </a:extLst>
            </p:cNvPr>
            <p:cNvSpPr/>
            <p:nvPr/>
          </p:nvSpPr>
          <p:spPr>
            <a:xfrm>
              <a:off x="664116" y="292884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Oval 114">
              <a:extLst>
                <a:ext uri="{FF2B5EF4-FFF2-40B4-BE49-F238E27FC236}">
                  <a16:creationId xmlns:a16="http://schemas.microsoft.com/office/drawing/2014/main" id="{FBE37ABD-8569-C909-5284-AE38DB32DC6D}"/>
                </a:ext>
              </a:extLst>
            </p:cNvPr>
            <p:cNvSpPr/>
            <p:nvPr/>
          </p:nvSpPr>
          <p:spPr>
            <a:xfrm>
              <a:off x="3915102" y="312530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16" name="Oval 115">
            <a:extLst>
              <a:ext uri="{FF2B5EF4-FFF2-40B4-BE49-F238E27FC236}">
                <a16:creationId xmlns:a16="http://schemas.microsoft.com/office/drawing/2014/main" id="{B3F3D465-C586-F27F-E63D-D533BCE6B9A8}"/>
              </a:ext>
            </a:extLst>
          </p:cNvPr>
          <p:cNvSpPr/>
          <p:nvPr/>
        </p:nvSpPr>
        <p:spPr>
          <a:xfrm>
            <a:off x="2159874" y="2981715"/>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7" name="Oval 116">
            <a:extLst>
              <a:ext uri="{FF2B5EF4-FFF2-40B4-BE49-F238E27FC236}">
                <a16:creationId xmlns:a16="http://schemas.microsoft.com/office/drawing/2014/main" id="{AB36C7AE-7128-49EB-ED6A-5CF086C0544F}"/>
              </a:ext>
            </a:extLst>
          </p:cNvPr>
          <p:cNvSpPr/>
          <p:nvPr/>
        </p:nvSpPr>
        <p:spPr>
          <a:xfrm>
            <a:off x="3205654" y="2156653"/>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8" name="Oval 117">
            <a:extLst>
              <a:ext uri="{FF2B5EF4-FFF2-40B4-BE49-F238E27FC236}">
                <a16:creationId xmlns:a16="http://schemas.microsoft.com/office/drawing/2014/main" id="{7AC4D651-8D93-63B6-A4A1-59A7E1FC4F08}"/>
              </a:ext>
            </a:extLst>
          </p:cNvPr>
          <p:cNvSpPr/>
          <p:nvPr/>
        </p:nvSpPr>
        <p:spPr>
          <a:xfrm>
            <a:off x="1639612" y="3978576"/>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9" name="Oval 118">
            <a:extLst>
              <a:ext uri="{FF2B5EF4-FFF2-40B4-BE49-F238E27FC236}">
                <a16:creationId xmlns:a16="http://schemas.microsoft.com/office/drawing/2014/main" id="{6199663D-384F-A633-4A19-1EE8774FBDC7}"/>
              </a:ext>
            </a:extLst>
          </p:cNvPr>
          <p:cNvSpPr/>
          <p:nvPr/>
        </p:nvSpPr>
        <p:spPr>
          <a:xfrm>
            <a:off x="4114795" y="3894715"/>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0" name="Oval 119">
            <a:extLst>
              <a:ext uri="{FF2B5EF4-FFF2-40B4-BE49-F238E27FC236}">
                <a16:creationId xmlns:a16="http://schemas.microsoft.com/office/drawing/2014/main" id="{9439449B-6C3E-1818-9A2F-E2437FB3F761}"/>
              </a:ext>
            </a:extLst>
          </p:cNvPr>
          <p:cNvSpPr/>
          <p:nvPr/>
        </p:nvSpPr>
        <p:spPr>
          <a:xfrm>
            <a:off x="3888822" y="2652652"/>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1" name="Oval 120">
            <a:extLst>
              <a:ext uri="{FF2B5EF4-FFF2-40B4-BE49-F238E27FC236}">
                <a16:creationId xmlns:a16="http://schemas.microsoft.com/office/drawing/2014/main" id="{DF3F7D54-5E0D-5EC4-F83B-910AF36C7599}"/>
              </a:ext>
            </a:extLst>
          </p:cNvPr>
          <p:cNvSpPr/>
          <p:nvPr/>
        </p:nvSpPr>
        <p:spPr>
          <a:xfrm>
            <a:off x="4582503" y="3084190"/>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2" name="Oval 121">
            <a:extLst>
              <a:ext uri="{FF2B5EF4-FFF2-40B4-BE49-F238E27FC236}">
                <a16:creationId xmlns:a16="http://schemas.microsoft.com/office/drawing/2014/main" id="{302CC544-5E5A-E36D-46B7-16C2C52847EF}"/>
              </a:ext>
            </a:extLst>
          </p:cNvPr>
          <p:cNvSpPr/>
          <p:nvPr/>
        </p:nvSpPr>
        <p:spPr>
          <a:xfrm>
            <a:off x="3243752" y="4837884"/>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4" name="Oval 123">
            <a:extLst>
              <a:ext uri="{FF2B5EF4-FFF2-40B4-BE49-F238E27FC236}">
                <a16:creationId xmlns:a16="http://schemas.microsoft.com/office/drawing/2014/main" id="{8A12200B-265F-E1A3-C4D8-D9934A4702AD}"/>
              </a:ext>
            </a:extLst>
          </p:cNvPr>
          <p:cNvSpPr/>
          <p:nvPr/>
        </p:nvSpPr>
        <p:spPr>
          <a:xfrm>
            <a:off x="881568" y="4535540"/>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5" name="Oval 124">
            <a:extLst>
              <a:ext uri="{FF2B5EF4-FFF2-40B4-BE49-F238E27FC236}">
                <a16:creationId xmlns:a16="http://schemas.microsoft.com/office/drawing/2014/main" id="{A4DAA2F1-E35E-A270-98CA-DB37D00EFA27}"/>
              </a:ext>
            </a:extLst>
          </p:cNvPr>
          <p:cNvSpPr/>
          <p:nvPr/>
        </p:nvSpPr>
        <p:spPr>
          <a:xfrm>
            <a:off x="769869" y="3509553"/>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6" name="Oval 125">
            <a:extLst>
              <a:ext uri="{FF2B5EF4-FFF2-40B4-BE49-F238E27FC236}">
                <a16:creationId xmlns:a16="http://schemas.microsoft.com/office/drawing/2014/main" id="{5863503F-0B0D-4296-3B3C-1F49BF5C9FEB}"/>
              </a:ext>
            </a:extLst>
          </p:cNvPr>
          <p:cNvSpPr/>
          <p:nvPr/>
        </p:nvSpPr>
        <p:spPr>
          <a:xfrm>
            <a:off x="1714455" y="1894096"/>
            <a:ext cx="304800" cy="304800"/>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8" name="Oval 127">
            <a:extLst>
              <a:ext uri="{FF2B5EF4-FFF2-40B4-BE49-F238E27FC236}">
                <a16:creationId xmlns:a16="http://schemas.microsoft.com/office/drawing/2014/main" id="{310B72A2-26DC-4341-B8FD-3F27D23A6B71}"/>
              </a:ext>
            </a:extLst>
          </p:cNvPr>
          <p:cNvSpPr/>
          <p:nvPr/>
        </p:nvSpPr>
        <p:spPr>
          <a:xfrm>
            <a:off x="1460889" y="5351212"/>
            <a:ext cx="304800" cy="304800"/>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9" name="Oval 128">
            <a:extLst>
              <a:ext uri="{FF2B5EF4-FFF2-40B4-BE49-F238E27FC236}">
                <a16:creationId xmlns:a16="http://schemas.microsoft.com/office/drawing/2014/main" id="{4EAC9D2C-4FCD-F166-7832-FE78D08342B4}"/>
              </a:ext>
            </a:extLst>
          </p:cNvPr>
          <p:cNvSpPr/>
          <p:nvPr/>
        </p:nvSpPr>
        <p:spPr>
          <a:xfrm>
            <a:off x="2349133" y="4302621"/>
            <a:ext cx="304800" cy="304800"/>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Oval 129">
            <a:extLst>
              <a:ext uri="{FF2B5EF4-FFF2-40B4-BE49-F238E27FC236}">
                <a16:creationId xmlns:a16="http://schemas.microsoft.com/office/drawing/2014/main" id="{86AAE69B-AEFF-17B5-342D-EB5E3A521517}"/>
              </a:ext>
            </a:extLst>
          </p:cNvPr>
          <p:cNvSpPr/>
          <p:nvPr/>
        </p:nvSpPr>
        <p:spPr>
          <a:xfrm>
            <a:off x="2622399" y="3630966"/>
            <a:ext cx="304800" cy="304800"/>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BA018110-9802-1944-55A9-B0512E352537}"/>
              </a:ext>
            </a:extLst>
          </p:cNvPr>
          <p:cNvSpPr>
            <a:spLocks noGrp="1"/>
          </p:cNvSpPr>
          <p:nvPr>
            <p:ph type="title"/>
          </p:nvPr>
        </p:nvSpPr>
        <p:spPr/>
        <p:txBody>
          <a:bodyPr/>
          <a:lstStyle/>
          <a:p>
            <a:r>
              <a:rPr lang="en-US" dirty="0"/>
              <a:t>Finding the Set of Vendors to Approach</a:t>
            </a:r>
          </a:p>
        </p:txBody>
      </p:sp>
      <p:sp>
        <p:nvSpPr>
          <p:cNvPr id="92" name="Rectangle 91">
            <a:extLst>
              <a:ext uri="{FF2B5EF4-FFF2-40B4-BE49-F238E27FC236}">
                <a16:creationId xmlns:a16="http://schemas.microsoft.com/office/drawing/2014/main" id="{1A6AD4DA-7611-8FA8-5053-3C3A76467FCE}"/>
              </a:ext>
            </a:extLst>
          </p:cNvPr>
          <p:cNvSpPr/>
          <p:nvPr/>
        </p:nvSpPr>
        <p:spPr>
          <a:xfrm>
            <a:off x="6407005" y="2201812"/>
            <a:ext cx="4511473" cy="54208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Web search, top 10 lists, etc.</a:t>
            </a:r>
          </a:p>
        </p:txBody>
      </p:sp>
      <p:sp>
        <p:nvSpPr>
          <p:cNvPr id="93" name="Oval 92">
            <a:extLst>
              <a:ext uri="{FF2B5EF4-FFF2-40B4-BE49-F238E27FC236}">
                <a16:creationId xmlns:a16="http://schemas.microsoft.com/office/drawing/2014/main" id="{14A1528A-28A5-1BE4-5720-D7826733771D}"/>
              </a:ext>
            </a:extLst>
          </p:cNvPr>
          <p:cNvSpPr/>
          <p:nvPr/>
        </p:nvSpPr>
        <p:spPr>
          <a:xfrm>
            <a:off x="6042727" y="2143578"/>
            <a:ext cx="658551" cy="65855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latin typeface="+mj-lt"/>
              </a:rPr>
              <a:t>1</a:t>
            </a:r>
          </a:p>
        </p:txBody>
      </p:sp>
      <p:sp>
        <p:nvSpPr>
          <p:cNvPr id="96" name="Rectangle 95">
            <a:extLst>
              <a:ext uri="{FF2B5EF4-FFF2-40B4-BE49-F238E27FC236}">
                <a16:creationId xmlns:a16="http://schemas.microsoft.com/office/drawing/2014/main" id="{60248F04-F9F1-3EE3-ABD0-1F27485CD70B}"/>
              </a:ext>
            </a:extLst>
          </p:cNvPr>
          <p:cNvSpPr/>
          <p:nvPr/>
        </p:nvSpPr>
        <p:spPr>
          <a:xfrm>
            <a:off x="6427065" y="3307509"/>
            <a:ext cx="4511472" cy="54208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Internal tools and expert insights</a:t>
            </a:r>
          </a:p>
        </p:txBody>
      </p:sp>
      <p:sp>
        <p:nvSpPr>
          <p:cNvPr id="97" name="Oval 96">
            <a:extLst>
              <a:ext uri="{FF2B5EF4-FFF2-40B4-BE49-F238E27FC236}">
                <a16:creationId xmlns:a16="http://schemas.microsoft.com/office/drawing/2014/main" id="{FBE220FA-6D8E-02D1-414A-0A0B739CFDC4}"/>
              </a:ext>
            </a:extLst>
          </p:cNvPr>
          <p:cNvSpPr/>
          <p:nvPr/>
        </p:nvSpPr>
        <p:spPr>
          <a:xfrm>
            <a:off x="6062787" y="3249275"/>
            <a:ext cx="658551" cy="65855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latin typeface="+mj-lt"/>
              </a:rPr>
              <a:t>2</a:t>
            </a:r>
          </a:p>
        </p:txBody>
      </p:sp>
      <p:sp>
        <p:nvSpPr>
          <p:cNvPr id="98" name="Rectangle 97">
            <a:extLst>
              <a:ext uri="{FF2B5EF4-FFF2-40B4-BE49-F238E27FC236}">
                <a16:creationId xmlns:a16="http://schemas.microsoft.com/office/drawing/2014/main" id="{98419E20-DAB7-F2F5-C760-25ECE37B8ECA}"/>
              </a:ext>
            </a:extLst>
          </p:cNvPr>
          <p:cNvSpPr/>
          <p:nvPr/>
        </p:nvSpPr>
        <p:spPr>
          <a:xfrm>
            <a:off x="6407005" y="4393937"/>
            <a:ext cx="4511472" cy="54208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Peer and supplier input</a:t>
            </a:r>
          </a:p>
        </p:txBody>
      </p:sp>
      <p:sp>
        <p:nvSpPr>
          <p:cNvPr id="99" name="Oval 98">
            <a:extLst>
              <a:ext uri="{FF2B5EF4-FFF2-40B4-BE49-F238E27FC236}">
                <a16:creationId xmlns:a16="http://schemas.microsoft.com/office/drawing/2014/main" id="{73EC1C83-B847-3DBC-11FC-4F0398879226}"/>
              </a:ext>
            </a:extLst>
          </p:cNvPr>
          <p:cNvSpPr/>
          <p:nvPr/>
        </p:nvSpPr>
        <p:spPr>
          <a:xfrm>
            <a:off x="6042727" y="4335703"/>
            <a:ext cx="658551" cy="658551"/>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latin typeface="+mj-lt"/>
              </a:rPr>
              <a:t>3</a:t>
            </a:r>
          </a:p>
        </p:txBody>
      </p:sp>
      <p:sp>
        <p:nvSpPr>
          <p:cNvPr id="133" name="Rectangle 132">
            <a:extLst>
              <a:ext uri="{FF2B5EF4-FFF2-40B4-BE49-F238E27FC236}">
                <a16:creationId xmlns:a16="http://schemas.microsoft.com/office/drawing/2014/main" id="{E02CE5A4-F834-920D-B845-ADF38CF98BED}"/>
              </a:ext>
            </a:extLst>
          </p:cNvPr>
          <p:cNvSpPr/>
          <p:nvPr/>
        </p:nvSpPr>
        <p:spPr>
          <a:xfrm>
            <a:off x="7862364" y="1744848"/>
            <a:ext cx="1600754" cy="234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6F7878"/>
                </a:solidFill>
              </a:rPr>
              <a:t>Time and Effort</a:t>
            </a:r>
          </a:p>
        </p:txBody>
      </p:sp>
    </p:spTree>
    <p:extLst>
      <p:ext uri="{BB962C8B-B14F-4D97-AF65-F5344CB8AC3E}">
        <p14:creationId xmlns:p14="http://schemas.microsoft.com/office/powerpoint/2010/main" val="17298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3"/>
                                        </p:tgtEl>
                                        <p:attrNameLst>
                                          <p:attrName>style.visibility</p:attrName>
                                        </p:attrNameLst>
                                      </p:cBhvr>
                                      <p:to>
                                        <p:strVal val="visible"/>
                                      </p:to>
                                    </p:set>
                                  </p:childTnLst>
                                </p:cTn>
                              </p:par>
                              <p:par>
                                <p:cTn id="9" presetID="10" presetClass="exit" presetSubtype="0" fill="hold" nodeType="withEffect">
                                  <p:stCondLst>
                                    <p:cond delay="0"/>
                                  </p:stCondLst>
                                  <p:childTnLst>
                                    <p:animEffect transition="out" filter="fade">
                                      <p:cBhvr>
                                        <p:cTn id="10" dur="500"/>
                                        <p:tgtEl>
                                          <p:spTgt spid="131"/>
                                        </p:tgtEl>
                                      </p:cBhvr>
                                    </p:animEffect>
                                    <p:set>
                                      <p:cBhvr>
                                        <p:cTn id="11" dur="1" fill="hold">
                                          <p:stCondLst>
                                            <p:cond delay="499"/>
                                          </p:stCondLst>
                                        </p:cTn>
                                        <p:tgtEl>
                                          <p:spTgt spid="131"/>
                                        </p:tgtEl>
                                        <p:attrNameLst>
                                          <p:attrName>style.visibility</p:attrName>
                                        </p:attrNameLst>
                                      </p:cBhvr>
                                      <p:to>
                                        <p:strVal val="hidden"/>
                                      </p:to>
                                    </p:set>
                                  </p:childTnLst>
                                </p:cTn>
                              </p:par>
                              <p:par>
                                <p:cTn id="12" presetID="10" presetClass="entr" presetSubtype="0" fill="hold" grpId="0" nodeType="withEffect">
                                  <p:stCondLst>
                                    <p:cond delay="0"/>
                                  </p:stCondLst>
                                  <p:childTnLst>
                                    <p:set>
                                      <p:cBhvr>
                                        <p:cTn id="13" dur="1" fill="hold">
                                          <p:stCondLst>
                                            <p:cond delay="0"/>
                                          </p:stCondLst>
                                        </p:cTn>
                                        <p:tgtEl>
                                          <p:spTgt spid="116"/>
                                        </p:tgtEl>
                                        <p:attrNameLst>
                                          <p:attrName>style.visibility</p:attrName>
                                        </p:attrNameLst>
                                      </p:cBhvr>
                                      <p:to>
                                        <p:strVal val="visible"/>
                                      </p:to>
                                    </p:set>
                                    <p:animEffect transition="in" filter="fade">
                                      <p:cBhvr>
                                        <p:cTn id="14" dur="500"/>
                                        <p:tgtEl>
                                          <p:spTgt spid="1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17"/>
                                        </p:tgtEl>
                                        <p:attrNameLst>
                                          <p:attrName>style.visibility</p:attrName>
                                        </p:attrNameLst>
                                      </p:cBhvr>
                                      <p:to>
                                        <p:strVal val="visible"/>
                                      </p:to>
                                    </p:set>
                                    <p:animEffect transition="in" filter="fade">
                                      <p:cBhvr>
                                        <p:cTn id="17" dur="500"/>
                                        <p:tgtEl>
                                          <p:spTgt spid="1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8"/>
                                        </p:tgtEl>
                                        <p:attrNameLst>
                                          <p:attrName>style.visibility</p:attrName>
                                        </p:attrNameLst>
                                      </p:cBhvr>
                                      <p:to>
                                        <p:strVal val="visible"/>
                                      </p:to>
                                    </p:set>
                                    <p:animEffect transition="in" filter="fade">
                                      <p:cBhvr>
                                        <p:cTn id="20" dur="500"/>
                                        <p:tgtEl>
                                          <p:spTgt spid="11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9"/>
                                        </p:tgtEl>
                                        <p:attrNameLst>
                                          <p:attrName>style.visibility</p:attrName>
                                        </p:attrNameLst>
                                      </p:cBhvr>
                                      <p:to>
                                        <p:strVal val="visible"/>
                                      </p:to>
                                    </p:set>
                                    <p:animEffect transition="in" filter="fade">
                                      <p:cBhvr>
                                        <p:cTn id="23" dur="500"/>
                                        <p:tgtEl>
                                          <p:spTgt spid="1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0"/>
                                        </p:tgtEl>
                                        <p:attrNameLst>
                                          <p:attrName>style.visibility</p:attrName>
                                        </p:attrNameLst>
                                      </p:cBhvr>
                                      <p:to>
                                        <p:strVal val="visible"/>
                                      </p:to>
                                    </p:set>
                                    <p:animEffect transition="in" filter="fade">
                                      <p:cBhvr>
                                        <p:cTn id="26" dur="500"/>
                                        <p:tgtEl>
                                          <p:spTgt spid="12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1"/>
                                        </p:tgtEl>
                                        <p:attrNameLst>
                                          <p:attrName>style.visibility</p:attrName>
                                        </p:attrNameLst>
                                      </p:cBhvr>
                                      <p:to>
                                        <p:strVal val="visible"/>
                                      </p:to>
                                    </p:set>
                                    <p:animEffect transition="in" filter="fade">
                                      <p:cBhvr>
                                        <p:cTn id="29" dur="500"/>
                                        <p:tgtEl>
                                          <p:spTgt spid="12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2"/>
                                        </p:tgtEl>
                                        <p:attrNameLst>
                                          <p:attrName>style.visibility</p:attrName>
                                        </p:attrNameLst>
                                      </p:cBhvr>
                                      <p:to>
                                        <p:strVal val="visible"/>
                                      </p:to>
                                    </p:set>
                                    <p:animEffect transition="in" filter="fade">
                                      <p:cBhvr>
                                        <p:cTn id="32" dur="500"/>
                                        <p:tgtEl>
                                          <p:spTgt spid="12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4"/>
                                        </p:tgtEl>
                                        <p:attrNameLst>
                                          <p:attrName>style.visibility</p:attrName>
                                        </p:attrNameLst>
                                      </p:cBhvr>
                                      <p:to>
                                        <p:strVal val="visible"/>
                                      </p:to>
                                    </p:set>
                                    <p:animEffect transition="in" filter="fade">
                                      <p:cBhvr>
                                        <p:cTn id="35" dur="500"/>
                                        <p:tgtEl>
                                          <p:spTgt spid="12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5"/>
                                        </p:tgtEl>
                                        <p:attrNameLst>
                                          <p:attrName>style.visibility</p:attrName>
                                        </p:attrNameLst>
                                      </p:cBhvr>
                                      <p:to>
                                        <p:strVal val="visible"/>
                                      </p:to>
                                    </p:set>
                                    <p:animEffect transition="in" filter="fade">
                                      <p:cBhvr>
                                        <p:cTn id="38" dur="500"/>
                                        <p:tgtEl>
                                          <p:spTgt spid="125"/>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7"/>
                                        </p:tgtEl>
                                        <p:attrNameLst>
                                          <p:attrName>style.visibility</p:attrName>
                                        </p:attrNameLst>
                                      </p:cBhvr>
                                      <p:to>
                                        <p:strVal val="visible"/>
                                      </p:to>
                                    </p:set>
                                  </p:childTnLst>
                                </p:cTn>
                              </p:par>
                              <p:par>
                                <p:cTn id="45" presetID="10" presetClass="entr" presetSubtype="0" fill="hold" grpId="0" nodeType="with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fade">
                                      <p:cBhvr>
                                        <p:cTn id="47" dur="500"/>
                                        <p:tgtEl>
                                          <p:spTgt spid="126"/>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8"/>
                                        </p:tgtEl>
                                        <p:attrNameLst>
                                          <p:attrName>style.visibility</p:attrName>
                                        </p:attrNameLst>
                                      </p:cBhvr>
                                      <p:to>
                                        <p:strVal val="visible"/>
                                      </p:to>
                                    </p:set>
                                    <p:animEffect transition="in" filter="fade">
                                      <p:cBhvr>
                                        <p:cTn id="50" dur="500"/>
                                        <p:tgtEl>
                                          <p:spTgt spid="128"/>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9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9"/>
                                        </p:tgtEl>
                                        <p:attrNameLst>
                                          <p:attrName>style.visibility</p:attrName>
                                        </p:attrNameLst>
                                      </p:cBhvr>
                                      <p:to>
                                        <p:strVal val="visible"/>
                                      </p:to>
                                    </p:set>
                                  </p:childTnLst>
                                </p:cTn>
                              </p:par>
                              <p:par>
                                <p:cTn id="57" presetID="10" presetClass="entr" presetSubtype="0" fill="hold" grpId="0" nodeType="withEffect">
                                  <p:stCondLst>
                                    <p:cond delay="0"/>
                                  </p:stCondLst>
                                  <p:childTnLst>
                                    <p:set>
                                      <p:cBhvr>
                                        <p:cTn id="58" dur="1" fill="hold">
                                          <p:stCondLst>
                                            <p:cond delay="0"/>
                                          </p:stCondLst>
                                        </p:cTn>
                                        <p:tgtEl>
                                          <p:spTgt spid="129"/>
                                        </p:tgtEl>
                                        <p:attrNameLst>
                                          <p:attrName>style.visibility</p:attrName>
                                        </p:attrNameLst>
                                      </p:cBhvr>
                                      <p:to>
                                        <p:strVal val="visible"/>
                                      </p:to>
                                    </p:set>
                                    <p:animEffect transition="in" filter="fade">
                                      <p:cBhvr>
                                        <p:cTn id="59" dur="500"/>
                                        <p:tgtEl>
                                          <p:spTgt spid="12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30"/>
                                        </p:tgtEl>
                                        <p:attrNameLst>
                                          <p:attrName>style.visibility</p:attrName>
                                        </p:attrNameLst>
                                      </p:cBhvr>
                                      <p:to>
                                        <p:strVal val="visible"/>
                                      </p:to>
                                    </p:set>
                                    <p:animEffect transition="in" filter="fade">
                                      <p:cBhvr>
                                        <p:cTn id="62" dur="500"/>
                                        <p:tgtEl>
                                          <p:spTgt spid="13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32"/>
                                        </p:tgtEl>
                                        <p:attrNameLst>
                                          <p:attrName>style.visibility</p:attrName>
                                        </p:attrNameLst>
                                      </p:cBhvr>
                                      <p:to>
                                        <p:strVal val="visible"/>
                                      </p:to>
                                    </p:set>
                                    <p:animEffect transition="in" filter="fade">
                                      <p:cBhvr>
                                        <p:cTn id="67" dur="500"/>
                                        <p:tgtEl>
                                          <p:spTgt spid="13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
                                        </p:tgtEl>
                                        <p:attrNameLst>
                                          <p:attrName>style.visibility</p:attrName>
                                        </p:attrNameLst>
                                      </p:cBhvr>
                                      <p:to>
                                        <p:strVal val="visible"/>
                                      </p:to>
                                    </p:set>
                                    <p:animEffect transition="in" filter="fade">
                                      <p:cBhvr>
                                        <p:cTn id="70"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16" grpId="0" animBg="1"/>
      <p:bldP spid="117" grpId="0" animBg="1"/>
      <p:bldP spid="118" grpId="0" animBg="1"/>
      <p:bldP spid="119" grpId="0" animBg="1"/>
      <p:bldP spid="120" grpId="0" animBg="1"/>
      <p:bldP spid="121" grpId="0" animBg="1"/>
      <p:bldP spid="122" grpId="0" animBg="1"/>
      <p:bldP spid="124" grpId="0" animBg="1"/>
      <p:bldP spid="125" grpId="0" animBg="1"/>
      <p:bldP spid="126" grpId="0" animBg="1"/>
      <p:bldP spid="128" grpId="0" animBg="1"/>
      <p:bldP spid="129" grpId="0" animBg="1"/>
      <p:bldP spid="130" grpId="0" animBg="1"/>
      <p:bldP spid="92" grpId="0" animBg="1"/>
      <p:bldP spid="93" grpId="0" animBg="1"/>
      <p:bldP spid="96" grpId="0" animBg="1"/>
      <p:bldP spid="97" grpId="0" animBg="1"/>
      <p:bldP spid="98" grpId="0" animBg="1"/>
      <p:bldP spid="99" grpId="0" animBg="1"/>
      <p:bldP spid="13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7FE043-DF42-5A34-9666-6DCA8A22CE93}"/>
              </a:ext>
            </a:extLst>
          </p:cNvPr>
          <p:cNvSpPr/>
          <p:nvPr/>
        </p:nvSpPr>
        <p:spPr>
          <a:xfrm>
            <a:off x="457200" y="1559070"/>
            <a:ext cx="4824243" cy="4575127"/>
          </a:xfrm>
          <a:prstGeom prst="rect">
            <a:avLst/>
          </a:prstGeom>
          <a:solidFill>
            <a:schemeClr val="bg1"/>
          </a:solidFill>
          <a:ln w="254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Oval 3">
            <a:extLst>
              <a:ext uri="{FF2B5EF4-FFF2-40B4-BE49-F238E27FC236}">
                <a16:creationId xmlns:a16="http://schemas.microsoft.com/office/drawing/2014/main" id="{C7448360-1D10-D82B-37EF-59E5ABC11756}"/>
              </a:ext>
            </a:extLst>
          </p:cNvPr>
          <p:cNvSpPr/>
          <p:nvPr/>
        </p:nvSpPr>
        <p:spPr>
          <a:xfrm>
            <a:off x="851337" y="2301694"/>
            <a:ext cx="304800" cy="304800"/>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1" name="Group 130">
            <a:extLst>
              <a:ext uri="{FF2B5EF4-FFF2-40B4-BE49-F238E27FC236}">
                <a16:creationId xmlns:a16="http://schemas.microsoft.com/office/drawing/2014/main" id="{3683F77E-C67B-4B06-5DCA-8C09C6FFBC92}"/>
              </a:ext>
            </a:extLst>
          </p:cNvPr>
          <p:cNvGrpSpPr/>
          <p:nvPr/>
        </p:nvGrpSpPr>
        <p:grpSpPr>
          <a:xfrm>
            <a:off x="664116" y="1674262"/>
            <a:ext cx="4417621" cy="4285420"/>
            <a:chOff x="664116" y="1674262"/>
            <a:chExt cx="4417621" cy="4285420"/>
          </a:xfrm>
        </p:grpSpPr>
        <p:sp>
          <p:nvSpPr>
            <p:cNvPr id="21" name="Oval 20">
              <a:extLst>
                <a:ext uri="{FF2B5EF4-FFF2-40B4-BE49-F238E27FC236}">
                  <a16:creationId xmlns:a16="http://schemas.microsoft.com/office/drawing/2014/main" id="{17FB67D4-B856-DC1E-6659-3CD859F02635}"/>
                </a:ext>
              </a:extLst>
            </p:cNvPr>
            <p:cNvSpPr/>
            <p:nvPr/>
          </p:nvSpPr>
          <p:spPr>
            <a:xfrm>
              <a:off x="851337" y="2302255"/>
              <a:ext cx="304800" cy="3048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7CC90118-2BD7-B3FD-5645-8D89F43D5DCD}"/>
                </a:ext>
              </a:extLst>
            </p:cNvPr>
            <p:cNvSpPr/>
            <p:nvPr/>
          </p:nvSpPr>
          <p:spPr>
            <a:xfrm>
              <a:off x="1713185" y="189296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Oval 23">
              <a:extLst>
                <a:ext uri="{FF2B5EF4-FFF2-40B4-BE49-F238E27FC236}">
                  <a16:creationId xmlns:a16="http://schemas.microsoft.com/office/drawing/2014/main" id="{FFAA068C-2817-8497-4B21-63ED1B6D4947}"/>
                </a:ext>
              </a:extLst>
            </p:cNvPr>
            <p:cNvSpPr/>
            <p:nvPr/>
          </p:nvSpPr>
          <p:spPr>
            <a:xfrm>
              <a:off x="1560785" y="262930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Oval 24">
              <a:extLst>
                <a:ext uri="{FF2B5EF4-FFF2-40B4-BE49-F238E27FC236}">
                  <a16:creationId xmlns:a16="http://schemas.microsoft.com/office/drawing/2014/main" id="{81C4C21E-5C1F-858F-5BF5-E4271B5777E1}"/>
                </a:ext>
              </a:extLst>
            </p:cNvPr>
            <p:cNvSpPr/>
            <p:nvPr/>
          </p:nvSpPr>
          <p:spPr>
            <a:xfrm>
              <a:off x="1156137" y="31311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Oval 25">
              <a:extLst>
                <a:ext uri="{FF2B5EF4-FFF2-40B4-BE49-F238E27FC236}">
                  <a16:creationId xmlns:a16="http://schemas.microsoft.com/office/drawing/2014/main" id="{48E92B58-B7D6-A75C-4555-024E6A21DEF5}"/>
                </a:ext>
              </a:extLst>
            </p:cNvPr>
            <p:cNvSpPr/>
            <p:nvPr/>
          </p:nvSpPr>
          <p:spPr>
            <a:xfrm>
              <a:off x="1560785" y="345436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Oval 26">
              <a:extLst>
                <a:ext uri="{FF2B5EF4-FFF2-40B4-BE49-F238E27FC236}">
                  <a16:creationId xmlns:a16="http://schemas.microsoft.com/office/drawing/2014/main" id="{E41D7944-100A-820B-33B5-C4778522B225}"/>
                </a:ext>
              </a:extLst>
            </p:cNvPr>
            <p:cNvSpPr/>
            <p:nvPr/>
          </p:nvSpPr>
          <p:spPr>
            <a:xfrm>
              <a:off x="2159874" y="29787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Oval 27">
              <a:extLst>
                <a:ext uri="{FF2B5EF4-FFF2-40B4-BE49-F238E27FC236}">
                  <a16:creationId xmlns:a16="http://schemas.microsoft.com/office/drawing/2014/main" id="{1B12D875-943D-7893-3B91-1137F745230F}"/>
                </a:ext>
              </a:extLst>
            </p:cNvPr>
            <p:cNvSpPr/>
            <p:nvPr/>
          </p:nvSpPr>
          <p:spPr>
            <a:xfrm>
              <a:off x="2406866" y="232450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9" name="Oval 28">
              <a:extLst>
                <a:ext uri="{FF2B5EF4-FFF2-40B4-BE49-F238E27FC236}">
                  <a16:creationId xmlns:a16="http://schemas.microsoft.com/office/drawing/2014/main" id="{F77C3424-B88B-2967-DF2A-BCA6CC6599E4}"/>
                </a:ext>
              </a:extLst>
            </p:cNvPr>
            <p:cNvSpPr/>
            <p:nvPr/>
          </p:nvSpPr>
          <p:spPr>
            <a:xfrm>
              <a:off x="2496206" y="182666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0" name="Oval 29">
              <a:extLst>
                <a:ext uri="{FF2B5EF4-FFF2-40B4-BE49-F238E27FC236}">
                  <a16:creationId xmlns:a16="http://schemas.microsoft.com/office/drawing/2014/main" id="{729DE940-3178-827A-A051-8F486C15A5F5}"/>
                </a:ext>
              </a:extLst>
            </p:cNvPr>
            <p:cNvSpPr/>
            <p:nvPr/>
          </p:nvSpPr>
          <p:spPr>
            <a:xfrm>
              <a:off x="3205654" y="2153711"/>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1" name="Oval 30">
              <a:extLst>
                <a:ext uri="{FF2B5EF4-FFF2-40B4-BE49-F238E27FC236}">
                  <a16:creationId xmlns:a16="http://schemas.microsoft.com/office/drawing/2014/main" id="{1B8E3981-FCA2-37E6-B3F1-27D1B370B5DB}"/>
                </a:ext>
              </a:extLst>
            </p:cNvPr>
            <p:cNvSpPr/>
            <p:nvPr/>
          </p:nvSpPr>
          <p:spPr>
            <a:xfrm>
              <a:off x="2801006" y="265558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2" name="Oval 31">
              <a:extLst>
                <a:ext uri="{FF2B5EF4-FFF2-40B4-BE49-F238E27FC236}">
                  <a16:creationId xmlns:a16="http://schemas.microsoft.com/office/drawing/2014/main" id="{F7FFB89C-6672-09E9-9C2E-AAC05577D8D5}"/>
                </a:ext>
              </a:extLst>
            </p:cNvPr>
            <p:cNvSpPr/>
            <p:nvPr/>
          </p:nvSpPr>
          <p:spPr>
            <a:xfrm>
              <a:off x="3205654" y="29787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3" name="Oval 32">
              <a:extLst>
                <a:ext uri="{FF2B5EF4-FFF2-40B4-BE49-F238E27FC236}">
                  <a16:creationId xmlns:a16="http://schemas.microsoft.com/office/drawing/2014/main" id="{A33D5B60-8E36-ABD1-6C52-1DCE325AFEFA}"/>
                </a:ext>
              </a:extLst>
            </p:cNvPr>
            <p:cNvSpPr/>
            <p:nvPr/>
          </p:nvSpPr>
          <p:spPr>
            <a:xfrm>
              <a:off x="856591" y="404193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4" name="Oval 33">
              <a:extLst>
                <a:ext uri="{FF2B5EF4-FFF2-40B4-BE49-F238E27FC236}">
                  <a16:creationId xmlns:a16="http://schemas.microsoft.com/office/drawing/2014/main" id="{481F0906-24CC-6AEC-B324-EF170C58C4ED}"/>
                </a:ext>
              </a:extLst>
            </p:cNvPr>
            <p:cNvSpPr/>
            <p:nvPr/>
          </p:nvSpPr>
          <p:spPr>
            <a:xfrm>
              <a:off x="1550272" y="447347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Oval 34">
              <a:extLst>
                <a:ext uri="{FF2B5EF4-FFF2-40B4-BE49-F238E27FC236}">
                  <a16:creationId xmlns:a16="http://schemas.microsoft.com/office/drawing/2014/main" id="{AB202E9D-0786-6C40-B088-17A38F11A8B8}"/>
                </a:ext>
              </a:extLst>
            </p:cNvPr>
            <p:cNvSpPr/>
            <p:nvPr/>
          </p:nvSpPr>
          <p:spPr>
            <a:xfrm>
              <a:off x="1639612" y="397563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6" name="Oval 35">
              <a:extLst>
                <a:ext uri="{FF2B5EF4-FFF2-40B4-BE49-F238E27FC236}">
                  <a16:creationId xmlns:a16="http://schemas.microsoft.com/office/drawing/2014/main" id="{9327EC4D-E052-5C53-6B32-CF92D272371F}"/>
                </a:ext>
              </a:extLst>
            </p:cNvPr>
            <p:cNvSpPr/>
            <p:nvPr/>
          </p:nvSpPr>
          <p:spPr>
            <a:xfrm>
              <a:off x="2349060" y="430268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7" name="Oval 36">
              <a:extLst>
                <a:ext uri="{FF2B5EF4-FFF2-40B4-BE49-F238E27FC236}">
                  <a16:creationId xmlns:a16="http://schemas.microsoft.com/office/drawing/2014/main" id="{59682442-0840-AE08-219A-E647AE998B9C}"/>
                </a:ext>
              </a:extLst>
            </p:cNvPr>
            <p:cNvSpPr/>
            <p:nvPr/>
          </p:nvSpPr>
          <p:spPr>
            <a:xfrm>
              <a:off x="1944412" y="480455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a:extLst>
                <a:ext uri="{FF2B5EF4-FFF2-40B4-BE49-F238E27FC236}">
                  <a16:creationId xmlns:a16="http://schemas.microsoft.com/office/drawing/2014/main" id="{7B029A1C-8F6B-4297-9E87-51720938A66E}"/>
                </a:ext>
              </a:extLst>
            </p:cNvPr>
            <p:cNvSpPr/>
            <p:nvPr/>
          </p:nvSpPr>
          <p:spPr>
            <a:xfrm>
              <a:off x="2349060" y="512774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9" name="Oval 38">
              <a:extLst>
                <a:ext uri="{FF2B5EF4-FFF2-40B4-BE49-F238E27FC236}">
                  <a16:creationId xmlns:a16="http://schemas.microsoft.com/office/drawing/2014/main" id="{51BE0D09-F49B-49B9-4067-CA211D22EBA0}"/>
                </a:ext>
              </a:extLst>
            </p:cNvPr>
            <p:cNvSpPr/>
            <p:nvPr/>
          </p:nvSpPr>
          <p:spPr>
            <a:xfrm>
              <a:off x="2622326" y="363102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0" name="Oval 39">
              <a:extLst>
                <a:ext uri="{FF2B5EF4-FFF2-40B4-BE49-F238E27FC236}">
                  <a16:creationId xmlns:a16="http://schemas.microsoft.com/office/drawing/2014/main" id="{F276B64D-71C7-2311-E6E7-AC3A25A1AA34}"/>
                </a:ext>
              </a:extLst>
            </p:cNvPr>
            <p:cNvSpPr/>
            <p:nvPr/>
          </p:nvSpPr>
          <p:spPr>
            <a:xfrm>
              <a:off x="3316007" y="406256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1" name="Oval 40">
              <a:extLst>
                <a:ext uri="{FF2B5EF4-FFF2-40B4-BE49-F238E27FC236}">
                  <a16:creationId xmlns:a16="http://schemas.microsoft.com/office/drawing/2014/main" id="{0B29C6D9-61BF-E7D3-6853-06B4FB42B932}"/>
                </a:ext>
              </a:extLst>
            </p:cNvPr>
            <p:cNvSpPr/>
            <p:nvPr/>
          </p:nvSpPr>
          <p:spPr>
            <a:xfrm>
              <a:off x="3405347" y="356472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2" name="Oval 41">
              <a:extLst>
                <a:ext uri="{FF2B5EF4-FFF2-40B4-BE49-F238E27FC236}">
                  <a16:creationId xmlns:a16="http://schemas.microsoft.com/office/drawing/2014/main" id="{D026A2E6-EC54-BF67-6A1A-3678820A6E52}"/>
                </a:ext>
              </a:extLst>
            </p:cNvPr>
            <p:cNvSpPr/>
            <p:nvPr/>
          </p:nvSpPr>
          <p:spPr>
            <a:xfrm>
              <a:off x="4114795" y="389177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Oval 42">
              <a:extLst>
                <a:ext uri="{FF2B5EF4-FFF2-40B4-BE49-F238E27FC236}">
                  <a16:creationId xmlns:a16="http://schemas.microsoft.com/office/drawing/2014/main" id="{41933CE1-2D0D-DC75-9C59-6FF403C5929C}"/>
                </a:ext>
              </a:extLst>
            </p:cNvPr>
            <p:cNvSpPr/>
            <p:nvPr/>
          </p:nvSpPr>
          <p:spPr>
            <a:xfrm>
              <a:off x="3710147" y="439364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4" name="Oval 43">
              <a:extLst>
                <a:ext uri="{FF2B5EF4-FFF2-40B4-BE49-F238E27FC236}">
                  <a16:creationId xmlns:a16="http://schemas.microsoft.com/office/drawing/2014/main" id="{CBAA2E35-3DCF-40D3-A4F4-21ED49C4B4D9}"/>
                </a:ext>
              </a:extLst>
            </p:cNvPr>
            <p:cNvSpPr/>
            <p:nvPr/>
          </p:nvSpPr>
          <p:spPr>
            <a:xfrm>
              <a:off x="4114795" y="471683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5" name="Oval 44">
              <a:extLst>
                <a:ext uri="{FF2B5EF4-FFF2-40B4-BE49-F238E27FC236}">
                  <a16:creationId xmlns:a16="http://schemas.microsoft.com/office/drawing/2014/main" id="{8B000695-2CBB-DF47-CD9F-3EC58D02A959}"/>
                </a:ext>
              </a:extLst>
            </p:cNvPr>
            <p:cNvSpPr/>
            <p:nvPr/>
          </p:nvSpPr>
          <p:spPr>
            <a:xfrm>
              <a:off x="4067502" y="167426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 name="Oval 47">
              <a:extLst>
                <a:ext uri="{FF2B5EF4-FFF2-40B4-BE49-F238E27FC236}">
                  <a16:creationId xmlns:a16="http://schemas.microsoft.com/office/drawing/2014/main" id="{100534BD-B8C1-7DA3-A1E4-58194DB9C9DD}"/>
                </a:ext>
              </a:extLst>
            </p:cNvPr>
            <p:cNvSpPr/>
            <p:nvPr/>
          </p:nvSpPr>
          <p:spPr>
            <a:xfrm>
              <a:off x="4472150" y="1997455"/>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0" name="Oval 49">
              <a:extLst>
                <a:ext uri="{FF2B5EF4-FFF2-40B4-BE49-F238E27FC236}">
                  <a16:creationId xmlns:a16="http://schemas.microsoft.com/office/drawing/2014/main" id="{FA76FB05-E6C3-95DF-A875-169E74B3FBE3}"/>
                </a:ext>
              </a:extLst>
            </p:cNvPr>
            <p:cNvSpPr/>
            <p:nvPr/>
          </p:nvSpPr>
          <p:spPr>
            <a:xfrm>
              <a:off x="3888822" y="264971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2" name="Oval 51">
              <a:extLst>
                <a:ext uri="{FF2B5EF4-FFF2-40B4-BE49-F238E27FC236}">
                  <a16:creationId xmlns:a16="http://schemas.microsoft.com/office/drawing/2014/main" id="{D3742685-09B7-7B39-E393-D48DD6B3F1A8}"/>
                </a:ext>
              </a:extLst>
            </p:cNvPr>
            <p:cNvSpPr/>
            <p:nvPr/>
          </p:nvSpPr>
          <p:spPr>
            <a:xfrm>
              <a:off x="4582503" y="308124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3" name="Oval 52">
              <a:extLst>
                <a:ext uri="{FF2B5EF4-FFF2-40B4-BE49-F238E27FC236}">
                  <a16:creationId xmlns:a16="http://schemas.microsoft.com/office/drawing/2014/main" id="{F4F2CE30-1236-25BD-F4AE-0A88E6202AAD}"/>
                </a:ext>
              </a:extLst>
            </p:cNvPr>
            <p:cNvSpPr/>
            <p:nvPr/>
          </p:nvSpPr>
          <p:spPr>
            <a:xfrm>
              <a:off x="4671843" y="258340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Oval 70">
              <a:extLst>
                <a:ext uri="{FF2B5EF4-FFF2-40B4-BE49-F238E27FC236}">
                  <a16:creationId xmlns:a16="http://schemas.microsoft.com/office/drawing/2014/main" id="{719D62A7-3459-6253-2C23-C9CEE43652F4}"/>
                </a:ext>
              </a:extLst>
            </p:cNvPr>
            <p:cNvSpPr/>
            <p:nvPr/>
          </p:nvSpPr>
          <p:spPr>
            <a:xfrm>
              <a:off x="4629800" y="356052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2" name="Oval 71">
              <a:extLst>
                <a:ext uri="{FF2B5EF4-FFF2-40B4-BE49-F238E27FC236}">
                  <a16:creationId xmlns:a16="http://schemas.microsoft.com/office/drawing/2014/main" id="{59AC502C-4ECD-DE6B-D30E-E528759CBABA}"/>
                </a:ext>
              </a:extLst>
            </p:cNvPr>
            <p:cNvSpPr/>
            <p:nvPr/>
          </p:nvSpPr>
          <p:spPr>
            <a:xfrm>
              <a:off x="4687602" y="418728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4" name="Oval 93">
              <a:extLst>
                <a:ext uri="{FF2B5EF4-FFF2-40B4-BE49-F238E27FC236}">
                  <a16:creationId xmlns:a16="http://schemas.microsoft.com/office/drawing/2014/main" id="{8AC6C429-93D5-AA0D-D86A-FA516A9A0EAB}"/>
                </a:ext>
              </a:extLst>
            </p:cNvPr>
            <p:cNvSpPr/>
            <p:nvPr/>
          </p:nvSpPr>
          <p:spPr>
            <a:xfrm>
              <a:off x="3415850" y="5486937"/>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5" name="Oval 94">
              <a:extLst>
                <a:ext uri="{FF2B5EF4-FFF2-40B4-BE49-F238E27FC236}">
                  <a16:creationId xmlns:a16="http://schemas.microsoft.com/office/drawing/2014/main" id="{7CFF7F72-F6AF-5E52-090A-D72A13E21076}"/>
                </a:ext>
              </a:extLst>
            </p:cNvPr>
            <p:cNvSpPr/>
            <p:nvPr/>
          </p:nvSpPr>
          <p:spPr>
            <a:xfrm>
              <a:off x="3739046" y="499413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0" name="Oval 99">
              <a:extLst>
                <a:ext uri="{FF2B5EF4-FFF2-40B4-BE49-F238E27FC236}">
                  <a16:creationId xmlns:a16="http://schemas.microsoft.com/office/drawing/2014/main" id="{2714F40F-F4B1-2E51-3BBA-FDD0AEF93318}"/>
                </a:ext>
              </a:extLst>
            </p:cNvPr>
            <p:cNvSpPr/>
            <p:nvPr/>
          </p:nvSpPr>
          <p:spPr>
            <a:xfrm>
              <a:off x="4382797" y="5246820"/>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2" name="Oval 101">
              <a:extLst>
                <a:ext uri="{FF2B5EF4-FFF2-40B4-BE49-F238E27FC236}">
                  <a16:creationId xmlns:a16="http://schemas.microsoft.com/office/drawing/2014/main" id="{B055701C-1BC7-4FAA-94EB-4E291DA246A5}"/>
                </a:ext>
              </a:extLst>
            </p:cNvPr>
            <p:cNvSpPr/>
            <p:nvPr/>
          </p:nvSpPr>
          <p:spPr>
            <a:xfrm>
              <a:off x="4713877" y="4767149"/>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3" name="Oval 102">
              <a:extLst>
                <a:ext uri="{FF2B5EF4-FFF2-40B4-BE49-F238E27FC236}">
                  <a16:creationId xmlns:a16="http://schemas.microsoft.com/office/drawing/2014/main" id="{1C55BE68-3479-AC69-7C05-2EEF0C6394ED}"/>
                </a:ext>
              </a:extLst>
            </p:cNvPr>
            <p:cNvSpPr/>
            <p:nvPr/>
          </p:nvSpPr>
          <p:spPr>
            <a:xfrm>
              <a:off x="4776937" y="5577896"/>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4" name="Oval 103">
              <a:extLst>
                <a:ext uri="{FF2B5EF4-FFF2-40B4-BE49-F238E27FC236}">
                  <a16:creationId xmlns:a16="http://schemas.microsoft.com/office/drawing/2014/main" id="{D5AA6D3A-56FD-AF24-031D-2BD2F7DF86FE}"/>
                </a:ext>
              </a:extLst>
            </p:cNvPr>
            <p:cNvSpPr/>
            <p:nvPr/>
          </p:nvSpPr>
          <p:spPr>
            <a:xfrm>
              <a:off x="927544" y="504204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5" name="Oval 104">
              <a:extLst>
                <a:ext uri="{FF2B5EF4-FFF2-40B4-BE49-F238E27FC236}">
                  <a16:creationId xmlns:a16="http://schemas.microsoft.com/office/drawing/2014/main" id="{A47A5282-7179-B086-4155-EFEA64003663}"/>
                </a:ext>
              </a:extLst>
            </p:cNvPr>
            <p:cNvSpPr/>
            <p:nvPr/>
          </p:nvSpPr>
          <p:spPr>
            <a:xfrm>
              <a:off x="3243752" y="483494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6" name="Oval 105">
              <a:extLst>
                <a:ext uri="{FF2B5EF4-FFF2-40B4-BE49-F238E27FC236}">
                  <a16:creationId xmlns:a16="http://schemas.microsoft.com/office/drawing/2014/main" id="{F3830F33-38B4-AB8A-BC2F-A3841CC47E41}"/>
                </a:ext>
              </a:extLst>
            </p:cNvPr>
            <p:cNvSpPr/>
            <p:nvPr/>
          </p:nvSpPr>
          <p:spPr>
            <a:xfrm>
              <a:off x="881568" y="453259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7" name="Oval 106">
              <a:extLst>
                <a:ext uri="{FF2B5EF4-FFF2-40B4-BE49-F238E27FC236}">
                  <a16:creationId xmlns:a16="http://schemas.microsoft.com/office/drawing/2014/main" id="{E042844B-D633-C373-C2F0-40CD0C391B56}"/>
                </a:ext>
              </a:extLst>
            </p:cNvPr>
            <p:cNvSpPr/>
            <p:nvPr/>
          </p:nvSpPr>
          <p:spPr>
            <a:xfrm>
              <a:off x="1459619" y="535008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8" name="Oval 107">
              <a:extLst>
                <a:ext uri="{FF2B5EF4-FFF2-40B4-BE49-F238E27FC236}">
                  <a16:creationId xmlns:a16="http://schemas.microsoft.com/office/drawing/2014/main" id="{55CEEFEA-F876-7EC5-1C76-2B9AFFFF7684}"/>
                </a:ext>
              </a:extLst>
            </p:cNvPr>
            <p:cNvSpPr/>
            <p:nvPr/>
          </p:nvSpPr>
          <p:spPr>
            <a:xfrm>
              <a:off x="2222934" y="562961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9" name="Oval 108">
              <a:extLst>
                <a:ext uri="{FF2B5EF4-FFF2-40B4-BE49-F238E27FC236}">
                  <a16:creationId xmlns:a16="http://schemas.microsoft.com/office/drawing/2014/main" id="{11840D68-F8C5-2940-7231-D1687925BBC8}"/>
                </a:ext>
              </a:extLst>
            </p:cNvPr>
            <p:cNvSpPr/>
            <p:nvPr/>
          </p:nvSpPr>
          <p:spPr>
            <a:xfrm>
              <a:off x="2879830" y="4455083"/>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2" name="Oval 111">
              <a:extLst>
                <a:ext uri="{FF2B5EF4-FFF2-40B4-BE49-F238E27FC236}">
                  <a16:creationId xmlns:a16="http://schemas.microsoft.com/office/drawing/2014/main" id="{C205E9A3-F8F7-A1DB-0A0A-A4FD18421689}"/>
                </a:ext>
              </a:extLst>
            </p:cNvPr>
            <p:cNvSpPr/>
            <p:nvPr/>
          </p:nvSpPr>
          <p:spPr>
            <a:xfrm>
              <a:off x="769869" y="3506611"/>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3" name="Oval 112">
              <a:extLst>
                <a:ext uri="{FF2B5EF4-FFF2-40B4-BE49-F238E27FC236}">
                  <a16:creationId xmlns:a16="http://schemas.microsoft.com/office/drawing/2014/main" id="{24B1920D-E6B8-EF33-C1ED-2D488E49BC16}"/>
                </a:ext>
              </a:extLst>
            </p:cNvPr>
            <p:cNvSpPr/>
            <p:nvPr/>
          </p:nvSpPr>
          <p:spPr>
            <a:xfrm>
              <a:off x="861847" y="5654882"/>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4" name="Oval 113">
              <a:extLst>
                <a:ext uri="{FF2B5EF4-FFF2-40B4-BE49-F238E27FC236}">
                  <a16:creationId xmlns:a16="http://schemas.microsoft.com/office/drawing/2014/main" id="{5B9E9797-FDC2-11C3-BA64-72C96490A620}"/>
                </a:ext>
              </a:extLst>
            </p:cNvPr>
            <p:cNvSpPr/>
            <p:nvPr/>
          </p:nvSpPr>
          <p:spPr>
            <a:xfrm>
              <a:off x="664116" y="2928848"/>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5" name="Oval 114">
              <a:extLst>
                <a:ext uri="{FF2B5EF4-FFF2-40B4-BE49-F238E27FC236}">
                  <a16:creationId xmlns:a16="http://schemas.microsoft.com/office/drawing/2014/main" id="{FBE37ABD-8569-C909-5284-AE38DB32DC6D}"/>
                </a:ext>
              </a:extLst>
            </p:cNvPr>
            <p:cNvSpPr/>
            <p:nvPr/>
          </p:nvSpPr>
          <p:spPr>
            <a:xfrm>
              <a:off x="3915102" y="3125304"/>
              <a:ext cx="304800" cy="304800"/>
            </a:xfrm>
            <a:prstGeom prst="ellipse">
              <a:avLst/>
            </a:prstGeom>
            <a:solidFill>
              <a:srgbClr val="979D9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18" name="Oval 117">
            <a:extLst>
              <a:ext uri="{FF2B5EF4-FFF2-40B4-BE49-F238E27FC236}">
                <a16:creationId xmlns:a16="http://schemas.microsoft.com/office/drawing/2014/main" id="{7AC4D651-8D93-63B6-A4A1-59A7E1FC4F08}"/>
              </a:ext>
            </a:extLst>
          </p:cNvPr>
          <p:cNvSpPr/>
          <p:nvPr/>
        </p:nvSpPr>
        <p:spPr>
          <a:xfrm>
            <a:off x="1639612" y="3978576"/>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1" name="Oval 120">
            <a:extLst>
              <a:ext uri="{FF2B5EF4-FFF2-40B4-BE49-F238E27FC236}">
                <a16:creationId xmlns:a16="http://schemas.microsoft.com/office/drawing/2014/main" id="{DF3F7D54-5E0D-5EC4-F83B-910AF36C7599}"/>
              </a:ext>
            </a:extLst>
          </p:cNvPr>
          <p:cNvSpPr/>
          <p:nvPr/>
        </p:nvSpPr>
        <p:spPr>
          <a:xfrm>
            <a:off x="4582503" y="3084190"/>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2" name="Oval 121">
            <a:extLst>
              <a:ext uri="{FF2B5EF4-FFF2-40B4-BE49-F238E27FC236}">
                <a16:creationId xmlns:a16="http://schemas.microsoft.com/office/drawing/2014/main" id="{302CC544-5E5A-E36D-46B7-16C2C52847EF}"/>
              </a:ext>
            </a:extLst>
          </p:cNvPr>
          <p:cNvSpPr/>
          <p:nvPr/>
        </p:nvSpPr>
        <p:spPr>
          <a:xfrm>
            <a:off x="3243752" y="4837884"/>
            <a:ext cx="304800" cy="304800"/>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6" name="Oval 125">
            <a:extLst>
              <a:ext uri="{FF2B5EF4-FFF2-40B4-BE49-F238E27FC236}">
                <a16:creationId xmlns:a16="http://schemas.microsoft.com/office/drawing/2014/main" id="{5863503F-0B0D-4296-3B3C-1F49BF5C9FEB}"/>
              </a:ext>
            </a:extLst>
          </p:cNvPr>
          <p:cNvSpPr/>
          <p:nvPr/>
        </p:nvSpPr>
        <p:spPr>
          <a:xfrm>
            <a:off x="1714455" y="1894096"/>
            <a:ext cx="304800" cy="304800"/>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8" name="Oval 127">
            <a:extLst>
              <a:ext uri="{FF2B5EF4-FFF2-40B4-BE49-F238E27FC236}">
                <a16:creationId xmlns:a16="http://schemas.microsoft.com/office/drawing/2014/main" id="{310B72A2-26DC-4341-B8FD-3F27D23A6B71}"/>
              </a:ext>
            </a:extLst>
          </p:cNvPr>
          <p:cNvSpPr/>
          <p:nvPr/>
        </p:nvSpPr>
        <p:spPr>
          <a:xfrm>
            <a:off x="1460889" y="5351212"/>
            <a:ext cx="304800" cy="304800"/>
          </a:xfrm>
          <a:prstGeom prst="ellips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9" name="Oval 128">
            <a:extLst>
              <a:ext uri="{FF2B5EF4-FFF2-40B4-BE49-F238E27FC236}">
                <a16:creationId xmlns:a16="http://schemas.microsoft.com/office/drawing/2014/main" id="{4EAC9D2C-4FCD-F166-7832-FE78D08342B4}"/>
              </a:ext>
            </a:extLst>
          </p:cNvPr>
          <p:cNvSpPr/>
          <p:nvPr/>
        </p:nvSpPr>
        <p:spPr>
          <a:xfrm>
            <a:off x="2349133" y="4302621"/>
            <a:ext cx="304800" cy="304800"/>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Oval 129">
            <a:extLst>
              <a:ext uri="{FF2B5EF4-FFF2-40B4-BE49-F238E27FC236}">
                <a16:creationId xmlns:a16="http://schemas.microsoft.com/office/drawing/2014/main" id="{86AAE69B-AEFF-17B5-342D-EB5E3A521517}"/>
              </a:ext>
            </a:extLst>
          </p:cNvPr>
          <p:cNvSpPr/>
          <p:nvPr/>
        </p:nvSpPr>
        <p:spPr>
          <a:xfrm>
            <a:off x="2622399" y="3630966"/>
            <a:ext cx="304800" cy="304800"/>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BA018110-9802-1944-55A9-B0512E352537}"/>
              </a:ext>
            </a:extLst>
          </p:cNvPr>
          <p:cNvSpPr>
            <a:spLocks noGrp="1"/>
          </p:cNvSpPr>
          <p:nvPr>
            <p:ph type="title"/>
          </p:nvPr>
        </p:nvSpPr>
        <p:spPr/>
        <p:txBody>
          <a:bodyPr/>
          <a:lstStyle/>
          <a:p>
            <a:r>
              <a:rPr lang="en-US" dirty="0"/>
              <a:t>Prioritize Peer and Supplier Input to Shortlist Fewer and Better Vendor Options</a:t>
            </a:r>
          </a:p>
        </p:txBody>
      </p:sp>
      <p:sp>
        <p:nvSpPr>
          <p:cNvPr id="3" name="Isosceles Triangle 2">
            <a:extLst>
              <a:ext uri="{FF2B5EF4-FFF2-40B4-BE49-F238E27FC236}">
                <a16:creationId xmlns:a16="http://schemas.microsoft.com/office/drawing/2014/main" id="{11E617D1-AA67-C9CD-FE72-2726361645D9}"/>
              </a:ext>
            </a:extLst>
          </p:cNvPr>
          <p:cNvSpPr/>
          <p:nvPr/>
        </p:nvSpPr>
        <p:spPr>
          <a:xfrm flipV="1">
            <a:off x="7440964" y="1997455"/>
            <a:ext cx="2443555" cy="3544518"/>
          </a:xfrm>
          <a:prstGeom prst="triangle">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a:extLst>
              <a:ext uri="{FF2B5EF4-FFF2-40B4-BE49-F238E27FC236}">
                <a16:creationId xmlns:a16="http://schemas.microsoft.com/office/drawing/2014/main" id="{83910EA3-C998-A29D-0815-925740440E4D}"/>
              </a:ext>
            </a:extLst>
          </p:cNvPr>
          <p:cNvSpPr/>
          <p:nvPr/>
        </p:nvSpPr>
        <p:spPr>
          <a:xfrm>
            <a:off x="6407005" y="2201812"/>
            <a:ext cx="4511473" cy="54208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Peer and supplier input</a:t>
            </a:r>
          </a:p>
        </p:txBody>
      </p:sp>
      <p:sp>
        <p:nvSpPr>
          <p:cNvPr id="6" name="Rectangle 5">
            <a:extLst>
              <a:ext uri="{FF2B5EF4-FFF2-40B4-BE49-F238E27FC236}">
                <a16:creationId xmlns:a16="http://schemas.microsoft.com/office/drawing/2014/main" id="{B473B937-AF90-915A-39BB-B8A172DCE1DD}"/>
              </a:ext>
            </a:extLst>
          </p:cNvPr>
          <p:cNvSpPr/>
          <p:nvPr/>
        </p:nvSpPr>
        <p:spPr>
          <a:xfrm>
            <a:off x="6427065" y="3307509"/>
            <a:ext cx="4511472" cy="54208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t>Internal tools and expert insights</a:t>
            </a:r>
          </a:p>
        </p:txBody>
      </p:sp>
      <p:sp>
        <p:nvSpPr>
          <p:cNvPr id="7" name="Rectangle 6">
            <a:extLst>
              <a:ext uri="{FF2B5EF4-FFF2-40B4-BE49-F238E27FC236}">
                <a16:creationId xmlns:a16="http://schemas.microsoft.com/office/drawing/2014/main" id="{D55D8568-DD5E-2D7B-C79D-EC4909B6C8B4}"/>
              </a:ext>
            </a:extLst>
          </p:cNvPr>
          <p:cNvSpPr/>
          <p:nvPr/>
        </p:nvSpPr>
        <p:spPr>
          <a:xfrm>
            <a:off x="6407005" y="4393937"/>
            <a:ext cx="4511472" cy="542082"/>
          </a:xfrm>
          <a:prstGeom prst="rect">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t>Web search, top 10 lists, etc.</a:t>
            </a:r>
            <a:endParaRPr lang="en-US" sz="2000" dirty="0"/>
          </a:p>
        </p:txBody>
      </p:sp>
      <p:sp>
        <p:nvSpPr>
          <p:cNvPr id="8" name="Rectangle 7">
            <a:extLst>
              <a:ext uri="{FF2B5EF4-FFF2-40B4-BE49-F238E27FC236}">
                <a16:creationId xmlns:a16="http://schemas.microsoft.com/office/drawing/2014/main" id="{3DD5FD06-AF2D-261F-A3F0-F6507172B982}"/>
              </a:ext>
            </a:extLst>
          </p:cNvPr>
          <p:cNvSpPr/>
          <p:nvPr/>
        </p:nvSpPr>
        <p:spPr>
          <a:xfrm>
            <a:off x="7862364" y="1744848"/>
            <a:ext cx="1600754" cy="234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6F7878"/>
                </a:solidFill>
              </a:rPr>
              <a:t>Time and Effort</a:t>
            </a:r>
          </a:p>
        </p:txBody>
      </p:sp>
      <p:sp>
        <p:nvSpPr>
          <p:cNvPr id="93" name="Oval 92">
            <a:extLst>
              <a:ext uri="{FF2B5EF4-FFF2-40B4-BE49-F238E27FC236}">
                <a16:creationId xmlns:a16="http://schemas.microsoft.com/office/drawing/2014/main" id="{14A1528A-28A5-1BE4-5720-D7826733771D}"/>
              </a:ext>
            </a:extLst>
          </p:cNvPr>
          <p:cNvSpPr/>
          <p:nvPr/>
        </p:nvSpPr>
        <p:spPr>
          <a:xfrm>
            <a:off x="6042727" y="2143578"/>
            <a:ext cx="658551" cy="658551"/>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latin typeface="+mj-lt"/>
              </a:rPr>
              <a:t>1</a:t>
            </a:r>
          </a:p>
        </p:txBody>
      </p:sp>
      <p:sp>
        <p:nvSpPr>
          <p:cNvPr id="97" name="Oval 96">
            <a:extLst>
              <a:ext uri="{FF2B5EF4-FFF2-40B4-BE49-F238E27FC236}">
                <a16:creationId xmlns:a16="http://schemas.microsoft.com/office/drawing/2014/main" id="{FBE220FA-6D8E-02D1-414A-0A0B739CFDC4}"/>
              </a:ext>
            </a:extLst>
          </p:cNvPr>
          <p:cNvSpPr/>
          <p:nvPr/>
        </p:nvSpPr>
        <p:spPr>
          <a:xfrm>
            <a:off x="6062787" y="3249275"/>
            <a:ext cx="658551" cy="658551"/>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latin typeface="+mj-lt"/>
              </a:rPr>
              <a:t>2</a:t>
            </a:r>
          </a:p>
        </p:txBody>
      </p:sp>
      <p:sp>
        <p:nvSpPr>
          <p:cNvPr id="99" name="Oval 98">
            <a:extLst>
              <a:ext uri="{FF2B5EF4-FFF2-40B4-BE49-F238E27FC236}">
                <a16:creationId xmlns:a16="http://schemas.microsoft.com/office/drawing/2014/main" id="{73EC1C83-B847-3DBC-11FC-4F0398879226}"/>
              </a:ext>
            </a:extLst>
          </p:cNvPr>
          <p:cNvSpPr/>
          <p:nvPr/>
        </p:nvSpPr>
        <p:spPr>
          <a:xfrm>
            <a:off x="6042727" y="4335703"/>
            <a:ext cx="658551" cy="658551"/>
          </a:xfrm>
          <a:prstGeom prst="ellipse">
            <a:avLst/>
          </a:prstGeom>
          <a:solidFill>
            <a:srgbClr val="06C4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latin typeface="+mj-lt"/>
              </a:rPr>
              <a:t>3</a:t>
            </a:r>
          </a:p>
        </p:txBody>
      </p:sp>
    </p:spTree>
    <p:extLst>
      <p:ext uri="{BB962C8B-B14F-4D97-AF65-F5344CB8AC3E}">
        <p14:creationId xmlns:p14="http://schemas.microsoft.com/office/powerpoint/2010/main" val="607702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0" presetClass="exit" presetSubtype="0" fill="hold" nodeType="withEffect">
                                  <p:stCondLst>
                                    <p:cond delay="0"/>
                                  </p:stCondLst>
                                  <p:childTnLst>
                                    <p:animEffect transition="out" filter="fade">
                                      <p:cBhvr>
                                        <p:cTn id="10" dur="500"/>
                                        <p:tgtEl>
                                          <p:spTgt spid="131"/>
                                        </p:tgtEl>
                                      </p:cBhvr>
                                    </p:animEffect>
                                    <p:set>
                                      <p:cBhvr>
                                        <p:cTn id="11" dur="1" fill="hold">
                                          <p:stCondLst>
                                            <p:cond delay="499"/>
                                          </p:stCondLst>
                                        </p:cTn>
                                        <p:tgtEl>
                                          <p:spTgt spid="131"/>
                                        </p:tgtEl>
                                        <p:attrNameLst>
                                          <p:attrName>style.visibility</p:attrName>
                                        </p:attrNameLst>
                                      </p:cBhvr>
                                      <p:to>
                                        <p:strVal val="hidden"/>
                                      </p:to>
                                    </p:set>
                                  </p:childTnLst>
                                </p:cTn>
                              </p:par>
                              <p:par>
                                <p:cTn id="12" presetID="10" presetClass="entr" presetSubtype="0" fill="hold" grpId="0" nodeType="withEffect">
                                  <p:stCondLst>
                                    <p:cond delay="0"/>
                                  </p:stCondLst>
                                  <p:childTnLst>
                                    <p:set>
                                      <p:cBhvr>
                                        <p:cTn id="13" dur="1" fill="hold">
                                          <p:stCondLst>
                                            <p:cond delay="0"/>
                                          </p:stCondLst>
                                        </p:cTn>
                                        <p:tgtEl>
                                          <p:spTgt spid="129"/>
                                        </p:tgtEl>
                                        <p:attrNameLst>
                                          <p:attrName>style.visibility</p:attrName>
                                        </p:attrNameLst>
                                      </p:cBhvr>
                                      <p:to>
                                        <p:strVal val="visible"/>
                                      </p:to>
                                    </p:set>
                                    <p:animEffect transition="in" filter="fade">
                                      <p:cBhvr>
                                        <p:cTn id="14" dur="500"/>
                                        <p:tgtEl>
                                          <p:spTgt spid="12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0"/>
                                        </p:tgtEl>
                                        <p:attrNameLst>
                                          <p:attrName>style.visibility</p:attrName>
                                        </p:attrNameLst>
                                      </p:cBhvr>
                                      <p:to>
                                        <p:strVal val="visible"/>
                                      </p:to>
                                    </p:set>
                                    <p:animEffect transition="in" filter="fade">
                                      <p:cBhvr>
                                        <p:cTn id="17" dur="500"/>
                                        <p:tgtEl>
                                          <p:spTgt spid="130"/>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9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childTnLst>
                                </p:cTn>
                              </p:par>
                              <p:par>
                                <p:cTn id="24" presetID="10" presetClass="entr" presetSubtype="0" fill="hold" grpId="0" nodeType="withEffect">
                                  <p:stCondLst>
                                    <p:cond delay="0"/>
                                  </p:stCondLst>
                                  <p:childTnLst>
                                    <p:set>
                                      <p:cBhvr>
                                        <p:cTn id="25" dur="1" fill="hold">
                                          <p:stCondLst>
                                            <p:cond delay="0"/>
                                          </p:stCondLst>
                                        </p:cTn>
                                        <p:tgtEl>
                                          <p:spTgt spid="126"/>
                                        </p:tgtEl>
                                        <p:attrNameLst>
                                          <p:attrName>style.visibility</p:attrName>
                                        </p:attrNameLst>
                                      </p:cBhvr>
                                      <p:to>
                                        <p:strVal val="visible"/>
                                      </p:to>
                                    </p:set>
                                    <p:animEffect transition="in" filter="fade">
                                      <p:cBhvr>
                                        <p:cTn id="26" dur="500"/>
                                        <p:tgtEl>
                                          <p:spTgt spid="12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8"/>
                                        </p:tgtEl>
                                        <p:attrNameLst>
                                          <p:attrName>style.visibility</p:attrName>
                                        </p:attrNameLst>
                                      </p:cBhvr>
                                      <p:to>
                                        <p:strVal val="visible"/>
                                      </p:to>
                                    </p:set>
                                    <p:animEffect transition="in" filter="fade">
                                      <p:cBhvr>
                                        <p:cTn id="29" dur="500"/>
                                        <p:tgtEl>
                                          <p:spTgt spid="128"/>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99"/>
                                        </p:tgtEl>
                                        <p:attrNameLst>
                                          <p:attrName>style.visibility</p:attrName>
                                        </p:attrNameLst>
                                      </p:cBhvr>
                                      <p:to>
                                        <p:strVal val="visible"/>
                                      </p:to>
                                    </p:set>
                                  </p:childTnLst>
                                </p:cTn>
                              </p:par>
                              <p:par>
                                <p:cTn id="34" presetID="10" presetClass="entr" presetSubtype="0" fill="hold" grpId="0" nodeType="withEffect">
                                  <p:stCondLst>
                                    <p:cond delay="0"/>
                                  </p:stCondLst>
                                  <p:childTnLst>
                                    <p:set>
                                      <p:cBhvr>
                                        <p:cTn id="35" dur="1" fill="hold">
                                          <p:stCondLst>
                                            <p:cond delay="0"/>
                                          </p:stCondLst>
                                        </p:cTn>
                                        <p:tgtEl>
                                          <p:spTgt spid="118"/>
                                        </p:tgtEl>
                                        <p:attrNameLst>
                                          <p:attrName>style.visibility</p:attrName>
                                        </p:attrNameLst>
                                      </p:cBhvr>
                                      <p:to>
                                        <p:strVal val="visible"/>
                                      </p:to>
                                    </p:set>
                                    <p:animEffect transition="in" filter="fade">
                                      <p:cBhvr>
                                        <p:cTn id="36" dur="500"/>
                                        <p:tgtEl>
                                          <p:spTgt spid="11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1"/>
                                        </p:tgtEl>
                                        <p:attrNameLst>
                                          <p:attrName>style.visibility</p:attrName>
                                        </p:attrNameLst>
                                      </p:cBhvr>
                                      <p:to>
                                        <p:strVal val="visible"/>
                                      </p:to>
                                    </p:set>
                                    <p:animEffect transition="in" filter="fade">
                                      <p:cBhvr>
                                        <p:cTn id="39" dur="500"/>
                                        <p:tgtEl>
                                          <p:spTgt spid="12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2"/>
                                        </p:tgtEl>
                                        <p:attrNameLst>
                                          <p:attrName>style.visibility</p:attrName>
                                        </p:attrNameLst>
                                      </p:cBhvr>
                                      <p:to>
                                        <p:strVal val="visible"/>
                                      </p:to>
                                    </p:set>
                                    <p:animEffect transition="in" filter="fade">
                                      <p:cBhvr>
                                        <p:cTn id="42" dur="500"/>
                                        <p:tgtEl>
                                          <p:spTgt spid="12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1" grpId="0" animBg="1"/>
      <p:bldP spid="122" grpId="0" animBg="1"/>
      <p:bldP spid="126" grpId="0" animBg="1"/>
      <p:bldP spid="128" grpId="0" animBg="1"/>
      <p:bldP spid="129" grpId="0" animBg="1"/>
      <p:bldP spid="130" grpId="0" animBg="1"/>
      <p:bldP spid="5" grpId="0" animBg="1"/>
      <p:bldP spid="6" grpId="0" animBg="1"/>
      <p:bldP spid="7" grpId="0" animBg="1"/>
      <p:bldP spid="93" grpId="0" animBg="1"/>
      <p:bldP spid="97" grpId="0" animBg="1"/>
      <p:bldP spid="9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724A89-3770-9F5C-E207-52C613ABCC07}"/>
              </a:ext>
            </a:extLst>
          </p:cNvPr>
          <p:cNvSpPr/>
          <p:nvPr/>
        </p:nvSpPr>
        <p:spPr>
          <a:xfrm>
            <a:off x="0" y="0"/>
            <a:ext cx="37528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4" name="Picture 3" descr="A person standing in front of a wall with a scribble drawn on it&#10;&#10;Description automatically generated">
            <a:extLst>
              <a:ext uri="{FF2B5EF4-FFF2-40B4-BE49-F238E27FC236}">
                <a16:creationId xmlns:a16="http://schemas.microsoft.com/office/drawing/2014/main" id="{122EE51B-9593-9848-77BF-0D1AF727B044}"/>
              </a:ext>
            </a:extLst>
          </p:cNvPr>
          <p:cNvPicPr>
            <a:picLocks noChangeAspect="1"/>
          </p:cNvPicPr>
          <p:nvPr/>
        </p:nvPicPr>
        <p:blipFill rotWithShape="1">
          <a:blip r:embed="rId3"/>
          <a:srcRect l="12110" t="7141" r="18671" b="17779"/>
          <a:stretch/>
        </p:blipFill>
        <p:spPr>
          <a:xfrm>
            <a:off x="3752850" y="0"/>
            <a:ext cx="8439150" cy="6858001"/>
          </a:xfrm>
          <a:prstGeom prst="rect">
            <a:avLst/>
          </a:prstGeom>
        </p:spPr>
      </p:pic>
      <p:sp>
        <p:nvSpPr>
          <p:cNvPr id="5" name="Title 1">
            <a:extLst>
              <a:ext uri="{FF2B5EF4-FFF2-40B4-BE49-F238E27FC236}">
                <a16:creationId xmlns:a16="http://schemas.microsoft.com/office/drawing/2014/main" id="{53C5FC22-FAA1-062E-9662-045C5D503CB7}"/>
              </a:ext>
            </a:extLst>
          </p:cNvPr>
          <p:cNvSpPr txBox="1">
            <a:spLocks/>
          </p:cNvSpPr>
          <p:nvPr/>
        </p:nvSpPr>
        <p:spPr>
          <a:xfrm>
            <a:off x="348088" y="2019344"/>
            <a:ext cx="3244198" cy="3771856"/>
          </a:xfrm>
          <a:prstGeom prst="rect">
            <a:avLst/>
          </a:prstGeom>
        </p:spPr>
        <p:txBody>
          <a:bodyPr/>
          <a:lstStyle>
            <a:lvl1pPr algn="l" defTabSz="914400" rtl="0" eaLnBrk="1" latinLnBrk="0" hangingPunct="1">
              <a:lnSpc>
                <a:spcPct val="90000"/>
              </a:lnSpc>
              <a:spcBef>
                <a:spcPts val="1200"/>
              </a:spcBef>
              <a:spcAft>
                <a:spcPts val="0"/>
              </a:spcAft>
              <a:buNone/>
              <a:defRPr sz="3200" b="0" kern="1200">
                <a:solidFill>
                  <a:schemeClr val="tx2"/>
                </a:solidFill>
                <a:latin typeface="Arial Black" panose="020B0A04020102020204" pitchFamily="34" charset="0"/>
                <a:ea typeface="+mj-ea"/>
                <a:cs typeface="+mj-cs"/>
              </a:defRPr>
            </a:lvl1pPr>
          </a:lstStyle>
          <a:p>
            <a:r>
              <a:rPr lang="en-US" sz="4800" dirty="0">
                <a:solidFill>
                  <a:srgbClr val="FF540A"/>
                </a:solidFill>
              </a:rPr>
              <a:t>89%</a:t>
            </a:r>
            <a:r>
              <a:rPr lang="en-US" dirty="0">
                <a:solidFill>
                  <a:srgbClr val="FF540A"/>
                </a:solidFill>
              </a:rPr>
              <a:t> </a:t>
            </a:r>
            <a:br>
              <a:rPr lang="en-US" dirty="0"/>
            </a:br>
            <a:r>
              <a:rPr lang="en-US" dirty="0"/>
              <a:t>Using or Currently Searching </a:t>
            </a:r>
            <a:br>
              <a:rPr lang="en-US" dirty="0"/>
            </a:br>
            <a:r>
              <a:rPr lang="en-US" dirty="0"/>
              <a:t>for a Scope 3 Digital Solution</a:t>
            </a:r>
          </a:p>
        </p:txBody>
      </p:sp>
      <p:pic>
        <p:nvPicPr>
          <p:cNvPr id="7" name="Gartner Logo">
            <a:extLst>
              <a:ext uri="{FF2B5EF4-FFF2-40B4-BE49-F238E27FC236}">
                <a16:creationId xmlns:a16="http://schemas.microsoft.com/office/drawing/2014/main" id="{5CA92CA0-616D-0C79-76F5-C53A641E5E39}"/>
              </a:ext>
            </a:extLst>
          </p:cNvPr>
          <p:cNvPicPr>
            <a:picLocks noChangeAspect="1"/>
          </p:cNvPicPr>
          <p:nvPr/>
        </p:nvPicPr>
        <p:blipFill>
          <a:blip r:embed="rId4"/>
          <a:srcRect/>
          <a:stretch/>
        </p:blipFill>
        <p:spPr bwMode="black">
          <a:xfrm>
            <a:off x="10452995" y="6241725"/>
            <a:ext cx="1280216" cy="292315"/>
          </a:xfrm>
          <a:prstGeom prst="rect">
            <a:avLst/>
          </a:prstGeom>
        </p:spPr>
      </p:pic>
      <p:sp>
        <p:nvSpPr>
          <p:cNvPr id="2" name="TextBox 1">
            <a:extLst>
              <a:ext uri="{FF2B5EF4-FFF2-40B4-BE49-F238E27FC236}">
                <a16:creationId xmlns:a16="http://schemas.microsoft.com/office/drawing/2014/main" id="{05AECBD0-060A-C3A7-16E6-F561BD838B52}"/>
              </a:ext>
            </a:extLst>
          </p:cNvPr>
          <p:cNvSpPr txBox="1"/>
          <p:nvPr/>
        </p:nvSpPr>
        <p:spPr>
          <a:xfrm>
            <a:off x="348088" y="6203230"/>
            <a:ext cx="3404762" cy="461665"/>
          </a:xfrm>
          <a:prstGeom prst="rect">
            <a:avLst/>
          </a:prstGeom>
          <a:noFill/>
        </p:spPr>
        <p:txBody>
          <a:bodyPr wrap="square" lIns="0" tIns="91440" rIns="91440" bIns="91440" rtlCol="0" anchor="b">
            <a:spAutoFit/>
          </a:bodyPr>
          <a:lstStyle/>
          <a:p>
            <a:pPr marL="0" marR="0" lvl="0" indent="0" algn="l" defTabSz="457200" rtl="0" eaLnBrk="1" fontAlgn="auto" latinLnBrk="0" hangingPunct="1">
              <a:lnSpc>
                <a:spcPct val="100000"/>
              </a:lnSpc>
              <a:spcBef>
                <a:spcPts val="2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Arial" panose="020B0604020202020204"/>
                <a:ea typeface="+mn-ea"/>
                <a:cs typeface="Arial" panose="020B0604020202020204" pitchFamily="34" charset="0"/>
              </a:rPr>
              <a:t>Source: Scope 3 Peer Group. Digital Solutions Landscape and Adoption Survey, Dec 2023</a:t>
            </a:r>
          </a:p>
        </p:txBody>
      </p:sp>
    </p:spTree>
    <p:extLst>
      <p:ext uri="{BB962C8B-B14F-4D97-AF65-F5344CB8AC3E}">
        <p14:creationId xmlns:p14="http://schemas.microsoft.com/office/powerpoint/2010/main" val="1374964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5A34D3-9051-8E69-08A5-50753CB7F1F2}"/>
              </a:ext>
            </a:extLst>
          </p:cNvPr>
          <p:cNvSpPr/>
          <p:nvPr/>
        </p:nvSpPr>
        <p:spPr>
          <a:xfrm>
            <a:off x="6095205" y="1427707"/>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sed on ambition and oversight</a:t>
            </a:r>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dirty="0">
                <a:solidFill>
                  <a:srgbClr val="BDBDBD"/>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dirty="0">
                <a:solidFill>
                  <a:srgbClr val="002856"/>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78855"/>
            <a:ext cx="3524672" cy="369332"/>
          </a:xfrm>
          <a:prstGeom prst="rect">
            <a:avLst/>
          </a:prstGeom>
          <a:noFill/>
        </p:spPr>
        <p:txBody>
          <a:bodyPr wrap="square">
            <a:spAutoFit/>
          </a:bodyPr>
          <a:lstStyle/>
          <a:p>
            <a:pPr>
              <a:spcAft>
                <a:spcPts val="600"/>
              </a:spcAft>
            </a:pPr>
            <a:r>
              <a:rPr lang="en-US" sz="1800" dirty="0">
                <a:solidFill>
                  <a:srgbClr val="BDBDBD"/>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sz="1800" dirty="0">
                <a:solidFill>
                  <a:srgbClr val="BDBDBD"/>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sz="1800" dirty="0">
                <a:solidFill>
                  <a:srgbClr val="BDBDBD"/>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BDBDBD"/>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1</a:t>
            </a:r>
            <a:endParaRPr sz="3200" b="1" dirty="0">
              <a:latin typeface="+mj-lt"/>
            </a:endParaRPr>
          </a:p>
        </p:txBody>
      </p:sp>
      <p:sp>
        <p:nvSpPr>
          <p:cNvPr id="16" name="Isosceles Triangle 15">
            <a:extLst>
              <a:ext uri="{FF2B5EF4-FFF2-40B4-BE49-F238E27FC236}">
                <a16:creationId xmlns:a16="http://schemas.microsoft.com/office/drawing/2014/main" id="{C7256DB8-C869-1E30-DDC3-A11AB967E14E}"/>
              </a:ext>
            </a:extLst>
          </p:cNvPr>
          <p:cNvSpPr/>
          <p:nvPr/>
        </p:nvSpPr>
        <p:spPr>
          <a:xfrm rot="5400000">
            <a:off x="5987476" y="1544901"/>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2</a:t>
            </a:r>
            <a:endParaRPr sz="3200" b="1" dirty="0">
              <a:solidFill>
                <a:srgbClr val="FFFFFF"/>
              </a:solidFill>
              <a:latin typeface="+mj-lt"/>
            </a:endParaRPr>
          </a:p>
        </p:txBody>
      </p:sp>
      <p:sp>
        <p:nvSpPr>
          <p:cNvPr id="13" name="Rectangle 12">
            <a:extLst>
              <a:ext uri="{FF2B5EF4-FFF2-40B4-BE49-F238E27FC236}">
                <a16:creationId xmlns:a16="http://schemas.microsoft.com/office/drawing/2014/main" id="{60F11323-D9C8-6A75-8F3E-2E32D6733B89}"/>
              </a:ext>
            </a:extLst>
          </p:cNvPr>
          <p:cNvSpPr/>
          <p:nvPr/>
        </p:nvSpPr>
        <p:spPr>
          <a:xfrm>
            <a:off x="6095205" y="2204635"/>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ioritize peer and supplier inputs</a:t>
            </a:r>
          </a:p>
        </p:txBody>
      </p:sp>
      <p:sp>
        <p:nvSpPr>
          <p:cNvPr id="20" name="Isosceles Triangle 19">
            <a:extLst>
              <a:ext uri="{FF2B5EF4-FFF2-40B4-BE49-F238E27FC236}">
                <a16:creationId xmlns:a16="http://schemas.microsoft.com/office/drawing/2014/main" id="{17D2973B-F740-29BF-4F0C-A9CE5CE0AEAE}"/>
              </a:ext>
            </a:extLst>
          </p:cNvPr>
          <p:cNvSpPr/>
          <p:nvPr/>
        </p:nvSpPr>
        <p:spPr>
          <a:xfrm rot="5400000">
            <a:off x="5987476" y="2321829"/>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Circle">
            <a:extLst>
              <a:ext uri="{FF2B5EF4-FFF2-40B4-BE49-F238E27FC236}">
                <a16:creationId xmlns:a16="http://schemas.microsoft.com/office/drawing/2014/main" id="{B3EB49D2-A1DC-305B-4744-29B755986195}"/>
              </a:ext>
            </a:extLst>
          </p:cNvPr>
          <p:cNvSpPr/>
          <p:nvPr/>
        </p:nvSpPr>
        <p:spPr>
          <a:xfrm>
            <a:off x="735044" y="2981099"/>
            <a:ext cx="603036" cy="603036"/>
          </a:xfrm>
          <a:prstGeom prst="ellipse">
            <a:avLst/>
          </a:prstGeom>
          <a:solidFill>
            <a:srgbClr val="002856"/>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3</a:t>
            </a:r>
            <a:endParaRPr sz="3200" b="1" dirty="0">
              <a:latin typeface="+mj-lt"/>
            </a:endParaRPr>
          </a:p>
        </p:txBody>
      </p:sp>
      <p:sp>
        <p:nvSpPr>
          <p:cNvPr id="28" name="Rectangle 27">
            <a:extLst>
              <a:ext uri="{FF2B5EF4-FFF2-40B4-BE49-F238E27FC236}">
                <a16:creationId xmlns:a16="http://schemas.microsoft.com/office/drawing/2014/main" id="{B5817132-6959-3927-EEC6-93E70D5DB1D9}"/>
              </a:ext>
            </a:extLst>
          </p:cNvPr>
          <p:cNvSpPr/>
          <p:nvPr/>
        </p:nvSpPr>
        <p:spPr>
          <a:xfrm>
            <a:off x="1549735" y="2981099"/>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Circle">
            <a:extLst>
              <a:ext uri="{FF2B5EF4-FFF2-40B4-BE49-F238E27FC236}">
                <a16:creationId xmlns:a16="http://schemas.microsoft.com/office/drawing/2014/main" id="{DB9DBD88-3835-CAB2-C5BE-305CDF4EBDFF}"/>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0" name="Circle">
            <a:extLst>
              <a:ext uri="{FF2B5EF4-FFF2-40B4-BE49-F238E27FC236}">
                <a16:creationId xmlns:a16="http://schemas.microsoft.com/office/drawing/2014/main" id="{655F89AC-48EB-7694-D332-D3F7C857680A}"/>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8" name="TextBox 7">
            <a:extLst>
              <a:ext uri="{FF2B5EF4-FFF2-40B4-BE49-F238E27FC236}">
                <a16:creationId xmlns:a16="http://schemas.microsoft.com/office/drawing/2014/main" id="{A5325A88-F74D-3031-E6AE-626A85C257B8}"/>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rgbClr val="BDBDBD"/>
                </a:solidFill>
                <a:latin typeface="+mj-lt"/>
              </a:rPr>
              <a:t>Define Outcomes and Capabilities</a:t>
            </a:r>
          </a:p>
        </p:txBody>
      </p:sp>
    </p:spTree>
    <p:extLst>
      <p:ext uri="{BB962C8B-B14F-4D97-AF65-F5344CB8AC3E}">
        <p14:creationId xmlns:p14="http://schemas.microsoft.com/office/powerpoint/2010/main" val="7483325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34D77-9EDB-21F6-149B-08598BBE1A47}"/>
              </a:ext>
            </a:extLst>
          </p:cNvPr>
          <p:cNvSpPr>
            <a:spLocks noGrp="1"/>
          </p:cNvSpPr>
          <p:nvPr>
            <p:ph type="title"/>
          </p:nvPr>
        </p:nvSpPr>
        <p:spPr/>
        <p:txBody>
          <a:bodyPr/>
          <a:lstStyle/>
          <a:p>
            <a:r>
              <a:rPr lang="en-US" dirty="0"/>
              <a:t>Better Questions Yield Better Answers During RFP</a:t>
            </a:r>
          </a:p>
        </p:txBody>
      </p:sp>
      <p:sp>
        <p:nvSpPr>
          <p:cNvPr id="4" name="Arrow: Pentagon 3">
            <a:extLst>
              <a:ext uri="{FF2B5EF4-FFF2-40B4-BE49-F238E27FC236}">
                <a16:creationId xmlns:a16="http://schemas.microsoft.com/office/drawing/2014/main" id="{9C7171E4-650A-A6BB-2152-79FDC76F0BCB}"/>
              </a:ext>
            </a:extLst>
          </p:cNvPr>
          <p:cNvSpPr/>
          <p:nvPr/>
        </p:nvSpPr>
        <p:spPr bwMode="gray">
          <a:xfrm>
            <a:off x="457993" y="1554797"/>
            <a:ext cx="5163515" cy="4433252"/>
          </a:xfrm>
          <a:prstGeom prst="homePlate">
            <a:avLst>
              <a:gd name="adj" fmla="val 35670"/>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0" rIns="91440" bIns="45720" numCol="1" spcCol="0" rtlCol="0" fromWordArt="0" anchor="t" anchorCtr="0" forceAA="0" compatLnSpc="1">
            <a:prstTxWarp prst="textNoShape">
              <a:avLst/>
            </a:prstTxWarp>
            <a:noAutofit/>
          </a:bodyPr>
          <a:lstStyle/>
          <a:p>
            <a:pPr>
              <a:spcAft>
                <a:spcPts val="600"/>
              </a:spcAft>
              <a:buClr>
                <a:srgbClr val="002856"/>
              </a:buClr>
              <a:buSzPct val="90000"/>
            </a:pPr>
            <a:r>
              <a:rPr lang="en-US" dirty="0">
                <a:solidFill>
                  <a:srgbClr val="002856"/>
                </a:solidFill>
                <a:latin typeface="+mj-lt"/>
              </a:rPr>
              <a:t>From </a:t>
            </a:r>
            <a:endParaRPr lang="en-US" dirty="0">
              <a:solidFill>
                <a:schemeClr val="tx1"/>
              </a:solidFill>
              <a:latin typeface="+mj-lt"/>
            </a:endParaRPr>
          </a:p>
          <a:p>
            <a:pPr marL="171450" indent="-171450">
              <a:spcAft>
                <a:spcPts val="600"/>
              </a:spcAft>
              <a:buClr>
                <a:srgbClr val="002856"/>
              </a:buClr>
              <a:buSzPct val="90000"/>
              <a:buFont typeface="Wingdings" panose="05000000000000000000" pitchFamily="2" charset="2"/>
              <a:buChar char="§"/>
            </a:pPr>
            <a:r>
              <a:rPr lang="en-US" sz="1600" dirty="0">
                <a:solidFill>
                  <a:schemeClr val="tx1"/>
                </a:solidFill>
              </a:rPr>
              <a:t>Do you help provide transparency into      our Scope 3 emissions?</a:t>
            </a:r>
          </a:p>
          <a:p>
            <a:pPr marL="171450" indent="-171450">
              <a:spcAft>
                <a:spcPts val="600"/>
              </a:spcAft>
              <a:buClr>
                <a:srgbClr val="002856"/>
              </a:buClr>
              <a:buSzPct val="90000"/>
              <a:buFont typeface="Wingdings" panose="05000000000000000000" pitchFamily="2" charset="2"/>
              <a:buChar char="§"/>
            </a:pPr>
            <a:r>
              <a:rPr lang="en-US" sz="1600" dirty="0">
                <a:solidFill>
                  <a:schemeClr val="tx1"/>
                </a:solidFill>
              </a:rPr>
              <a:t>Can your solution help us reduce our   Scope 3 carbon footprint?</a:t>
            </a:r>
          </a:p>
          <a:p>
            <a:pPr marL="171450" indent="-171450">
              <a:spcAft>
                <a:spcPts val="600"/>
              </a:spcAft>
              <a:buClr>
                <a:srgbClr val="002856"/>
              </a:buClr>
              <a:buSzPct val="90000"/>
              <a:buFont typeface="Wingdings" panose="05000000000000000000" pitchFamily="2" charset="2"/>
              <a:buChar char="§"/>
            </a:pPr>
            <a:r>
              <a:rPr lang="en-US" sz="1600" dirty="0">
                <a:solidFill>
                  <a:schemeClr val="tx1"/>
                </a:solidFill>
              </a:rPr>
              <a:t>Can your solution help ensure compliance  to applicable laws and regulations focused on Scope 3? </a:t>
            </a:r>
          </a:p>
          <a:p>
            <a:pPr marL="171450" indent="-171450">
              <a:spcAft>
                <a:spcPts val="600"/>
              </a:spcAft>
              <a:buClr>
                <a:srgbClr val="002856"/>
              </a:buClr>
              <a:buSzPct val="90000"/>
              <a:buFont typeface="Wingdings" panose="05000000000000000000" pitchFamily="2" charset="2"/>
              <a:buChar char="§"/>
            </a:pPr>
            <a:r>
              <a:rPr lang="en-US" sz="1600" dirty="0">
                <a:solidFill>
                  <a:schemeClr val="tx1"/>
                </a:solidFill>
              </a:rPr>
              <a:t>Do you validate supplier data collected        through the platform?</a:t>
            </a:r>
          </a:p>
        </p:txBody>
      </p:sp>
      <p:sp>
        <p:nvSpPr>
          <p:cNvPr id="5" name="Freeform: Shape 4">
            <a:extLst>
              <a:ext uri="{FF2B5EF4-FFF2-40B4-BE49-F238E27FC236}">
                <a16:creationId xmlns:a16="http://schemas.microsoft.com/office/drawing/2014/main" id="{D22606BB-12E7-6496-F4B6-AC434CD00688}"/>
              </a:ext>
            </a:extLst>
          </p:cNvPr>
          <p:cNvSpPr/>
          <p:nvPr/>
        </p:nvSpPr>
        <p:spPr bwMode="gray">
          <a:xfrm>
            <a:off x="6570491" y="1554796"/>
            <a:ext cx="5163515" cy="4433252"/>
          </a:xfrm>
          <a:custGeom>
            <a:avLst/>
            <a:gdLst>
              <a:gd name="connsiteX0" fmla="*/ 0 w 5163515"/>
              <a:gd name="connsiteY0" fmla="*/ 0 h 3268345"/>
              <a:gd name="connsiteX1" fmla="*/ 2055866 w 5163515"/>
              <a:gd name="connsiteY1" fmla="*/ 0 h 3268345"/>
              <a:gd name="connsiteX2" fmla="*/ 2055867 w 5163515"/>
              <a:gd name="connsiteY2" fmla="*/ 1 h 3268345"/>
              <a:gd name="connsiteX3" fmla="*/ 5163515 w 5163515"/>
              <a:gd name="connsiteY3" fmla="*/ 1 h 3268345"/>
              <a:gd name="connsiteX4" fmla="*/ 5163515 w 5163515"/>
              <a:gd name="connsiteY4" fmla="*/ 3268345 h 3268345"/>
              <a:gd name="connsiteX5" fmla="*/ 2055866 w 5163515"/>
              <a:gd name="connsiteY5" fmla="*/ 3268345 h 3268345"/>
              <a:gd name="connsiteX6" fmla="*/ 1822294 w 5163515"/>
              <a:gd name="connsiteY6" fmla="*/ 3268345 h 3268345"/>
              <a:gd name="connsiteX7" fmla="*/ 0 w 5163515"/>
              <a:gd name="connsiteY7" fmla="*/ 3268345 h 3268345"/>
              <a:gd name="connsiteX8" fmla="*/ 1634173 w 5163515"/>
              <a:gd name="connsiteY8" fmla="*/ 1634173 h 326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3515" h="3268345">
                <a:moveTo>
                  <a:pt x="0" y="0"/>
                </a:moveTo>
                <a:lnTo>
                  <a:pt x="2055866" y="0"/>
                </a:lnTo>
                <a:lnTo>
                  <a:pt x="2055867" y="1"/>
                </a:lnTo>
                <a:lnTo>
                  <a:pt x="5163515" y="1"/>
                </a:lnTo>
                <a:lnTo>
                  <a:pt x="5163515" y="3268345"/>
                </a:lnTo>
                <a:lnTo>
                  <a:pt x="2055866" y="3268345"/>
                </a:lnTo>
                <a:lnTo>
                  <a:pt x="1822294" y="3268345"/>
                </a:lnTo>
                <a:lnTo>
                  <a:pt x="0" y="3268345"/>
                </a:lnTo>
                <a:lnTo>
                  <a:pt x="1634173" y="1634173"/>
                </a:lnTo>
                <a:close/>
              </a:path>
            </a:pathLst>
          </a:cu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0" tIns="457200" rIns="91440" bIns="45720" numCol="1" spcCol="0" rtlCol="0" fromWordArt="0" anchor="t" anchorCtr="0" forceAA="0" compatLnSpc="1">
            <a:prstTxWarp prst="textNoShape">
              <a:avLst/>
            </a:prstTxWarp>
            <a:noAutofit/>
          </a:bodyPr>
          <a:lstStyle/>
          <a:p>
            <a:pPr>
              <a:spcAft>
                <a:spcPts val="600"/>
              </a:spcAft>
              <a:buClr>
                <a:srgbClr val="002856"/>
              </a:buClr>
              <a:buSzPct val="90000"/>
            </a:pPr>
            <a:r>
              <a:rPr lang="en-US" dirty="0">
                <a:solidFill>
                  <a:srgbClr val="002856"/>
                </a:solidFill>
                <a:latin typeface="+mj-lt"/>
              </a:rPr>
              <a:t>To</a:t>
            </a:r>
            <a:endParaRPr lang="en-US" dirty="0">
              <a:solidFill>
                <a:schemeClr val="tx1"/>
              </a:solidFill>
              <a:latin typeface="+mj-lt"/>
            </a:endParaRPr>
          </a:p>
          <a:p>
            <a:pPr marL="171450" indent="-171450">
              <a:spcAft>
                <a:spcPts val="600"/>
              </a:spcAft>
              <a:buClr>
                <a:srgbClr val="002856"/>
              </a:buClr>
              <a:buSzPct val="90000"/>
              <a:buFont typeface="Wingdings" panose="05000000000000000000" pitchFamily="2" charset="2"/>
              <a:buChar char="§"/>
            </a:pPr>
            <a:r>
              <a:rPr lang="en-US" sz="1600" dirty="0">
                <a:solidFill>
                  <a:srgbClr val="FF540A"/>
                </a:solidFill>
                <a:latin typeface="+mj-lt"/>
              </a:rPr>
              <a:t>HOW</a:t>
            </a:r>
            <a:r>
              <a:rPr lang="en-US" sz="1600" dirty="0">
                <a:solidFill>
                  <a:schemeClr val="tx1"/>
                </a:solidFill>
              </a:rPr>
              <a:t> do you help provide transparency into our Scope 3 emissions?</a:t>
            </a:r>
          </a:p>
          <a:p>
            <a:pPr marL="171450" indent="-171450">
              <a:spcAft>
                <a:spcPts val="600"/>
              </a:spcAft>
              <a:buClr>
                <a:srgbClr val="002856"/>
              </a:buClr>
              <a:buSzPct val="90000"/>
              <a:buFont typeface="Wingdings" panose="05000000000000000000" pitchFamily="2" charset="2"/>
              <a:buChar char="§"/>
            </a:pPr>
            <a:r>
              <a:rPr lang="en-US" sz="1600" dirty="0">
                <a:solidFill>
                  <a:srgbClr val="FF540A"/>
                </a:solidFill>
                <a:latin typeface="+mj-lt"/>
              </a:rPr>
              <a:t>HOW</a:t>
            </a:r>
            <a:r>
              <a:rPr lang="en-US" sz="1600" dirty="0">
                <a:solidFill>
                  <a:schemeClr val="tx1"/>
                </a:solidFill>
              </a:rPr>
              <a:t> does your solution help us reduce our carbon footprint Scope 3 emissions?</a:t>
            </a:r>
          </a:p>
          <a:p>
            <a:pPr marL="171450" indent="-171450">
              <a:spcAft>
                <a:spcPts val="600"/>
              </a:spcAft>
              <a:buClr>
                <a:srgbClr val="002856"/>
              </a:buClr>
              <a:buSzPct val="90000"/>
              <a:buFont typeface="Wingdings" panose="05000000000000000000" pitchFamily="2" charset="2"/>
              <a:buChar char="§"/>
            </a:pPr>
            <a:r>
              <a:rPr lang="en-US" sz="1600" dirty="0">
                <a:solidFill>
                  <a:srgbClr val="FF540A"/>
                </a:solidFill>
                <a:latin typeface="+mj-lt"/>
              </a:rPr>
              <a:t>HOW</a:t>
            </a:r>
            <a:r>
              <a:rPr lang="en-US" sz="1600" dirty="0">
                <a:solidFill>
                  <a:schemeClr val="tx1"/>
                </a:solidFill>
              </a:rPr>
              <a:t> does your solution help ensure compliance to applicable laws and regulations focused on Scope 3? </a:t>
            </a:r>
          </a:p>
          <a:p>
            <a:pPr marL="171450" indent="-171450">
              <a:spcAft>
                <a:spcPts val="600"/>
              </a:spcAft>
              <a:buClr>
                <a:srgbClr val="002856"/>
              </a:buClr>
              <a:buSzPct val="90000"/>
              <a:buFont typeface="Wingdings" panose="05000000000000000000" pitchFamily="2" charset="2"/>
              <a:buChar char="§"/>
            </a:pPr>
            <a:r>
              <a:rPr lang="en-US" sz="1600" dirty="0">
                <a:solidFill>
                  <a:srgbClr val="FF540A"/>
                </a:solidFill>
                <a:latin typeface="+mj-lt"/>
              </a:rPr>
              <a:t>HOW</a:t>
            </a:r>
            <a:r>
              <a:rPr lang="en-US" sz="1600" dirty="0">
                <a:solidFill>
                  <a:schemeClr val="tx1"/>
                </a:solidFill>
              </a:rPr>
              <a:t> do you validate supplier data collected through the platform?</a:t>
            </a:r>
          </a:p>
        </p:txBody>
      </p:sp>
      <p:sp>
        <p:nvSpPr>
          <p:cNvPr id="7" name="Freeform: Shape 6">
            <a:extLst>
              <a:ext uri="{FF2B5EF4-FFF2-40B4-BE49-F238E27FC236}">
                <a16:creationId xmlns:a16="http://schemas.microsoft.com/office/drawing/2014/main" id="{677E5EC2-DF61-CB14-1056-61D78EAB5E9A}"/>
              </a:ext>
            </a:extLst>
          </p:cNvPr>
          <p:cNvSpPr/>
          <p:nvPr/>
        </p:nvSpPr>
        <p:spPr bwMode="gray">
          <a:xfrm>
            <a:off x="3804206" y="1554797"/>
            <a:ext cx="4448242" cy="4433252"/>
          </a:xfrm>
          <a:custGeom>
            <a:avLst/>
            <a:gdLst>
              <a:gd name="connsiteX0" fmla="*/ 1625201 w 6216904"/>
              <a:gd name="connsiteY0" fmla="*/ 0 h 3268345"/>
              <a:gd name="connsiteX1" fmla="*/ 4582732 w 6216904"/>
              <a:gd name="connsiteY1" fmla="*/ 0 h 3268345"/>
              <a:gd name="connsiteX2" fmla="*/ 6216904 w 6216904"/>
              <a:gd name="connsiteY2" fmla="*/ 1634172 h 3268345"/>
              <a:gd name="connsiteX3" fmla="*/ 4582732 w 6216904"/>
              <a:gd name="connsiteY3" fmla="*/ 3268344 h 3268345"/>
              <a:gd name="connsiteX4" fmla="*/ 1747894 w 6216904"/>
              <a:gd name="connsiteY4" fmla="*/ 3268344 h 3268345"/>
              <a:gd name="connsiteX5" fmla="*/ 1747893 w 6216904"/>
              <a:gd name="connsiteY5" fmla="*/ 3268345 h 3268345"/>
              <a:gd name="connsiteX6" fmla="*/ 0 w 6216904"/>
              <a:gd name="connsiteY6" fmla="*/ 3268345 h 3268345"/>
              <a:gd name="connsiteX7" fmla="*/ 1625201 w 6216904"/>
              <a:gd name="connsiteY7" fmla="*/ 1643144 h 3268345"/>
              <a:gd name="connsiteX8" fmla="*/ 1625201 w 6216904"/>
              <a:gd name="connsiteY8" fmla="*/ 1625202 h 3268345"/>
              <a:gd name="connsiteX9" fmla="*/ 0 w 6216904"/>
              <a:gd name="connsiteY9" fmla="*/ 1 h 3268345"/>
              <a:gd name="connsiteX10" fmla="*/ 1625201 w 6216904"/>
              <a:gd name="connsiteY10" fmla="*/ 1 h 326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6904" h="3268345">
                <a:moveTo>
                  <a:pt x="1625201" y="0"/>
                </a:moveTo>
                <a:lnTo>
                  <a:pt x="4582732" y="0"/>
                </a:lnTo>
                <a:lnTo>
                  <a:pt x="6216904" y="1634172"/>
                </a:lnTo>
                <a:lnTo>
                  <a:pt x="4582732" y="3268344"/>
                </a:lnTo>
                <a:lnTo>
                  <a:pt x="1747894" y="3268344"/>
                </a:lnTo>
                <a:lnTo>
                  <a:pt x="1747893" y="3268345"/>
                </a:lnTo>
                <a:lnTo>
                  <a:pt x="0" y="3268345"/>
                </a:lnTo>
                <a:lnTo>
                  <a:pt x="1625201" y="1643144"/>
                </a:lnTo>
                <a:lnTo>
                  <a:pt x="1625201" y="1625202"/>
                </a:lnTo>
                <a:lnTo>
                  <a:pt x="0" y="1"/>
                </a:lnTo>
                <a:lnTo>
                  <a:pt x="1625201" y="1"/>
                </a:lnTo>
                <a:close/>
              </a:path>
            </a:pathLst>
          </a:cu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chemeClr val="bg1"/>
              </a:buClr>
            </a:pPr>
            <a:endParaRPr lang="en-US" sz="1400">
              <a:solidFill>
                <a:schemeClr val="bg1"/>
              </a:solidFill>
            </a:endParaRPr>
          </a:p>
        </p:txBody>
      </p:sp>
      <p:sp>
        <p:nvSpPr>
          <p:cNvPr id="10" name="TextBox 9">
            <a:extLst>
              <a:ext uri="{FF2B5EF4-FFF2-40B4-BE49-F238E27FC236}">
                <a16:creationId xmlns:a16="http://schemas.microsoft.com/office/drawing/2014/main" id="{B726A0E3-23D0-99DF-AFF1-F2833C7092FE}"/>
              </a:ext>
            </a:extLst>
          </p:cNvPr>
          <p:cNvSpPr txBox="1"/>
          <p:nvPr/>
        </p:nvSpPr>
        <p:spPr bwMode="gray">
          <a:xfrm>
            <a:off x="5464832" y="3340535"/>
            <a:ext cx="1581909" cy="861774"/>
          </a:xfrm>
          <a:prstGeom prst="rect">
            <a:avLst/>
          </a:prstGeom>
          <a:noFill/>
        </p:spPr>
        <p:txBody>
          <a:bodyPr wrap="square" lIns="0" tIns="0" rIns="0" bIns="0" rtlCol="0">
            <a:spAutoFit/>
          </a:bodyPr>
          <a:lstStyle/>
          <a:p>
            <a:pPr algn="ctr"/>
            <a:r>
              <a:rPr lang="en-US" sz="2400" b="1" dirty="0">
                <a:solidFill>
                  <a:schemeClr val="bg1"/>
                </a:solidFill>
                <a:latin typeface="+mj-lt"/>
              </a:rPr>
              <a:t>Focus on </a:t>
            </a:r>
            <a:r>
              <a:rPr lang="en-US" sz="3200" b="1" dirty="0">
                <a:solidFill>
                  <a:srgbClr val="FF540A"/>
                </a:solidFill>
                <a:latin typeface="+mj-lt"/>
              </a:rPr>
              <a:t>HOW</a:t>
            </a:r>
            <a:endParaRPr lang="en-US" sz="2400" b="1" dirty="0">
              <a:solidFill>
                <a:srgbClr val="FF540A"/>
              </a:solidFill>
              <a:latin typeface="+mj-lt"/>
            </a:endParaRPr>
          </a:p>
        </p:txBody>
      </p:sp>
    </p:spTree>
    <p:extLst>
      <p:ext uri="{BB962C8B-B14F-4D97-AF65-F5344CB8AC3E}">
        <p14:creationId xmlns:p14="http://schemas.microsoft.com/office/powerpoint/2010/main" val="987233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1" end="1"/>
                                            </p:txEl>
                                          </p:spTgt>
                                        </p:tgtEl>
                                        <p:attrNameLst>
                                          <p:attrName>style.visibility</p:attrName>
                                        </p:attrNameLst>
                                      </p:cBhvr>
                                      <p:to>
                                        <p:strVal val="visible"/>
                                      </p:to>
                                    </p:set>
                                    <p:animEffect transition="in" filter="fade">
                                      <p:cBhvr>
                                        <p:cTn id="18" dur="500"/>
                                        <p:tgtEl>
                                          <p:spTgt spid="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2" end="2"/>
                                            </p:txEl>
                                          </p:spTgt>
                                        </p:tgtEl>
                                        <p:attrNameLst>
                                          <p:attrName>style.visibility</p:attrName>
                                        </p:attrNameLst>
                                      </p:cBhvr>
                                      <p:to>
                                        <p:strVal val="visible"/>
                                      </p:to>
                                    </p:set>
                                    <p:animEffect transition="in" filter="fade">
                                      <p:cBhvr>
                                        <p:cTn id="26" dur="500"/>
                                        <p:tgtEl>
                                          <p:spTgt spid="5">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4">
                                            <p:txEl>
                                              <p:pRg st="3" end="3"/>
                                            </p:txEl>
                                          </p:spTgt>
                                        </p:tgtEl>
                                        <p:attrNameLst>
                                          <p:attrName>style.visibility</p:attrName>
                                        </p:attrNameLst>
                                      </p:cBhvr>
                                      <p:to>
                                        <p:strVal val="visible"/>
                                      </p:to>
                                    </p:set>
                                    <p:animEffect transition="in" filter="fade">
                                      <p:cBhvr>
                                        <p:cTn id="31" dur="500"/>
                                        <p:tgtEl>
                                          <p:spTgt spid="4">
                                            <p:txEl>
                                              <p:pRg st="3" end="3"/>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5">
                                            <p:txEl>
                                              <p:pRg st="3" end="3"/>
                                            </p:txEl>
                                          </p:spTgt>
                                        </p:tgtEl>
                                        <p:attrNameLst>
                                          <p:attrName>style.visibility</p:attrName>
                                        </p:attrNameLst>
                                      </p:cBhvr>
                                      <p:to>
                                        <p:strVal val="visible"/>
                                      </p:to>
                                    </p:set>
                                    <p:animEffect transition="in" filter="fade">
                                      <p:cBhvr>
                                        <p:cTn id="34" dur="500"/>
                                        <p:tgtEl>
                                          <p:spTgt spid="5">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animEffect transition="in" filter="fade">
                                      <p:cBhvr>
                                        <p:cTn id="39" dur="500"/>
                                        <p:tgtEl>
                                          <p:spTgt spid="4">
                                            <p:txEl>
                                              <p:pRg st="4" end="4"/>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5">
                                            <p:txEl>
                                              <p:pRg st="4" end="4"/>
                                            </p:txEl>
                                          </p:spTgt>
                                        </p:tgtEl>
                                        <p:attrNameLst>
                                          <p:attrName>style.visibility</p:attrName>
                                        </p:attrNameLst>
                                      </p:cBhvr>
                                      <p:to>
                                        <p:strVal val="visible"/>
                                      </p:to>
                                    </p:set>
                                    <p:animEffect transition="in" filter="fade">
                                      <p:cBhvr>
                                        <p:cTn id="42"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5A34D3-9051-8E69-08A5-50753CB7F1F2}"/>
              </a:ext>
            </a:extLst>
          </p:cNvPr>
          <p:cNvSpPr/>
          <p:nvPr/>
        </p:nvSpPr>
        <p:spPr>
          <a:xfrm>
            <a:off x="6095205" y="1427707"/>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sed on ambition and oversight</a:t>
            </a:r>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dirty="0">
                <a:solidFill>
                  <a:srgbClr val="BDBDBD"/>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dirty="0">
                <a:solidFill>
                  <a:srgbClr val="BDBDBD"/>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69517"/>
            <a:ext cx="3524672" cy="369332"/>
          </a:xfrm>
          <a:prstGeom prst="rect">
            <a:avLst/>
          </a:prstGeom>
          <a:noFill/>
        </p:spPr>
        <p:txBody>
          <a:bodyPr wrap="square">
            <a:spAutoFit/>
          </a:bodyPr>
          <a:lstStyle/>
          <a:p>
            <a:pPr>
              <a:spcAft>
                <a:spcPts val="600"/>
              </a:spcAft>
            </a:pPr>
            <a:r>
              <a:rPr lang="en-US" dirty="0">
                <a:solidFill>
                  <a:srgbClr val="002856"/>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sz="1800" dirty="0">
                <a:solidFill>
                  <a:srgbClr val="BDBDBD"/>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sz="1800" dirty="0">
                <a:solidFill>
                  <a:srgbClr val="BDBDBD"/>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BDBDBD"/>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1</a:t>
            </a:r>
            <a:endParaRPr sz="3200" b="1" dirty="0">
              <a:latin typeface="+mj-lt"/>
            </a:endParaRPr>
          </a:p>
        </p:txBody>
      </p:sp>
      <p:sp>
        <p:nvSpPr>
          <p:cNvPr id="16" name="Isosceles Triangle 15">
            <a:extLst>
              <a:ext uri="{FF2B5EF4-FFF2-40B4-BE49-F238E27FC236}">
                <a16:creationId xmlns:a16="http://schemas.microsoft.com/office/drawing/2014/main" id="{C7256DB8-C869-1E30-DDC3-A11AB967E14E}"/>
              </a:ext>
            </a:extLst>
          </p:cNvPr>
          <p:cNvSpPr/>
          <p:nvPr/>
        </p:nvSpPr>
        <p:spPr>
          <a:xfrm rot="5400000">
            <a:off x="5987476" y="1544901"/>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2</a:t>
            </a:r>
            <a:endParaRPr sz="3200" b="1" dirty="0">
              <a:solidFill>
                <a:srgbClr val="FFFFFF"/>
              </a:solidFill>
              <a:latin typeface="+mj-lt"/>
            </a:endParaRPr>
          </a:p>
        </p:txBody>
      </p:sp>
      <p:sp>
        <p:nvSpPr>
          <p:cNvPr id="13" name="Rectangle 12">
            <a:extLst>
              <a:ext uri="{FF2B5EF4-FFF2-40B4-BE49-F238E27FC236}">
                <a16:creationId xmlns:a16="http://schemas.microsoft.com/office/drawing/2014/main" id="{60F11323-D9C8-6A75-8F3E-2E32D6733B89}"/>
              </a:ext>
            </a:extLst>
          </p:cNvPr>
          <p:cNvSpPr/>
          <p:nvPr/>
        </p:nvSpPr>
        <p:spPr>
          <a:xfrm>
            <a:off x="6095205" y="2204635"/>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ioritize peer and supplier inputs</a:t>
            </a:r>
          </a:p>
        </p:txBody>
      </p:sp>
      <p:sp>
        <p:nvSpPr>
          <p:cNvPr id="20" name="Isosceles Triangle 19">
            <a:extLst>
              <a:ext uri="{FF2B5EF4-FFF2-40B4-BE49-F238E27FC236}">
                <a16:creationId xmlns:a16="http://schemas.microsoft.com/office/drawing/2014/main" id="{17D2973B-F740-29BF-4F0C-A9CE5CE0AEAE}"/>
              </a:ext>
            </a:extLst>
          </p:cNvPr>
          <p:cNvSpPr/>
          <p:nvPr/>
        </p:nvSpPr>
        <p:spPr>
          <a:xfrm rot="5400000">
            <a:off x="5987476" y="2321829"/>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Circle">
            <a:extLst>
              <a:ext uri="{FF2B5EF4-FFF2-40B4-BE49-F238E27FC236}">
                <a16:creationId xmlns:a16="http://schemas.microsoft.com/office/drawing/2014/main" id="{B3EB49D2-A1DC-305B-4744-29B755986195}"/>
              </a:ext>
            </a:extLst>
          </p:cNvPr>
          <p:cNvSpPr/>
          <p:nvPr/>
        </p:nvSpPr>
        <p:spPr>
          <a:xfrm>
            <a:off x="735044" y="2981099"/>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3</a:t>
            </a:r>
            <a:endParaRPr sz="3200" b="1" dirty="0">
              <a:solidFill>
                <a:srgbClr val="FFFFFF"/>
              </a:solidFill>
              <a:latin typeface="+mj-lt"/>
            </a:endParaRPr>
          </a:p>
        </p:txBody>
      </p:sp>
      <p:sp>
        <p:nvSpPr>
          <p:cNvPr id="25" name="Circle">
            <a:extLst>
              <a:ext uri="{FF2B5EF4-FFF2-40B4-BE49-F238E27FC236}">
                <a16:creationId xmlns:a16="http://schemas.microsoft.com/office/drawing/2014/main" id="{5E0A185D-D504-BC8D-9556-D2BE9AB89857}"/>
              </a:ext>
            </a:extLst>
          </p:cNvPr>
          <p:cNvSpPr/>
          <p:nvPr/>
        </p:nvSpPr>
        <p:spPr>
          <a:xfrm>
            <a:off x="751038" y="3752665"/>
            <a:ext cx="603036" cy="603036"/>
          </a:xfrm>
          <a:prstGeom prst="ellipse">
            <a:avLst/>
          </a:prstGeom>
          <a:solidFill>
            <a:srgbClr val="002856"/>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4</a:t>
            </a:r>
            <a:endParaRPr sz="3200" b="1" dirty="0">
              <a:latin typeface="+mj-lt"/>
            </a:endParaRPr>
          </a:p>
        </p:txBody>
      </p:sp>
      <p:sp>
        <p:nvSpPr>
          <p:cNvPr id="28" name="Rectangle 27">
            <a:extLst>
              <a:ext uri="{FF2B5EF4-FFF2-40B4-BE49-F238E27FC236}">
                <a16:creationId xmlns:a16="http://schemas.microsoft.com/office/drawing/2014/main" id="{B5817132-6959-3927-EEC6-93E70D5DB1D9}"/>
              </a:ext>
            </a:extLst>
          </p:cNvPr>
          <p:cNvSpPr/>
          <p:nvPr/>
        </p:nvSpPr>
        <p:spPr>
          <a:xfrm>
            <a:off x="1549735" y="2981099"/>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Rectangle 28">
            <a:extLst>
              <a:ext uri="{FF2B5EF4-FFF2-40B4-BE49-F238E27FC236}">
                <a16:creationId xmlns:a16="http://schemas.microsoft.com/office/drawing/2014/main" id="{62B0BA63-F058-B536-6886-0B962D5121D2}"/>
              </a:ext>
            </a:extLst>
          </p:cNvPr>
          <p:cNvSpPr/>
          <p:nvPr/>
        </p:nvSpPr>
        <p:spPr>
          <a:xfrm>
            <a:off x="6102133" y="2981260"/>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Focus on HOW</a:t>
            </a:r>
          </a:p>
        </p:txBody>
      </p:sp>
      <p:sp>
        <p:nvSpPr>
          <p:cNvPr id="30" name="Isosceles Triangle 29">
            <a:extLst>
              <a:ext uri="{FF2B5EF4-FFF2-40B4-BE49-F238E27FC236}">
                <a16:creationId xmlns:a16="http://schemas.microsoft.com/office/drawing/2014/main" id="{2720027E-25F6-EFB8-D68A-1C0A8CE1750A}"/>
              </a:ext>
            </a:extLst>
          </p:cNvPr>
          <p:cNvSpPr/>
          <p:nvPr/>
        </p:nvSpPr>
        <p:spPr>
          <a:xfrm rot="5400000">
            <a:off x="5994404" y="3098454"/>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93E3A37A-F7FA-BCDD-7601-016E4BA34A65}"/>
              </a:ext>
            </a:extLst>
          </p:cNvPr>
          <p:cNvSpPr/>
          <p:nvPr/>
        </p:nvSpPr>
        <p:spPr>
          <a:xfrm>
            <a:off x="1549735" y="3762003"/>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Circle">
            <a:extLst>
              <a:ext uri="{FF2B5EF4-FFF2-40B4-BE49-F238E27FC236}">
                <a16:creationId xmlns:a16="http://schemas.microsoft.com/office/drawing/2014/main" id="{0449F0CA-15FA-72F9-C0E4-886109833965}"/>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Circle">
            <a:extLst>
              <a:ext uri="{FF2B5EF4-FFF2-40B4-BE49-F238E27FC236}">
                <a16:creationId xmlns:a16="http://schemas.microsoft.com/office/drawing/2014/main" id="{50B82E6C-E2E6-E4D3-2EB5-BA1CB5928212}"/>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8" name="TextBox 7">
            <a:extLst>
              <a:ext uri="{FF2B5EF4-FFF2-40B4-BE49-F238E27FC236}">
                <a16:creationId xmlns:a16="http://schemas.microsoft.com/office/drawing/2014/main" id="{6B412E63-E220-32FA-953A-F702DCA7F758}"/>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rgbClr val="BDBDBD"/>
                </a:solidFill>
                <a:latin typeface="+mj-lt"/>
              </a:rPr>
              <a:t>Define Outcomes and Capabilities</a:t>
            </a:r>
          </a:p>
        </p:txBody>
      </p:sp>
    </p:spTree>
    <p:extLst>
      <p:ext uri="{BB962C8B-B14F-4D97-AF65-F5344CB8AC3E}">
        <p14:creationId xmlns:p14="http://schemas.microsoft.com/office/powerpoint/2010/main" val="265325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A1190-A3EE-E5FD-ED96-3CA01764F645}"/>
              </a:ext>
            </a:extLst>
          </p:cNvPr>
          <p:cNvSpPr>
            <a:spLocks noGrp="1"/>
          </p:cNvSpPr>
          <p:nvPr>
            <p:ph type="title"/>
          </p:nvPr>
        </p:nvSpPr>
        <p:spPr/>
        <p:txBody>
          <a:bodyPr/>
          <a:lstStyle/>
          <a:p>
            <a:r>
              <a:rPr lang="en-US" dirty="0"/>
              <a:t>Moving Beyond Standard Demos</a:t>
            </a:r>
          </a:p>
        </p:txBody>
      </p:sp>
      <p:pic>
        <p:nvPicPr>
          <p:cNvPr id="5" name="59223141-A98B-4012-9909-E04DBEBAF2FC">
            <a:extLst>
              <a:ext uri="{FF2B5EF4-FFF2-40B4-BE49-F238E27FC236}">
                <a16:creationId xmlns:a16="http://schemas.microsoft.com/office/drawing/2014/main" id="{782A1B4B-FC19-5F72-BD54-EA26C15F6D91}"/>
              </a:ext>
            </a:extLst>
          </p:cNvPr>
          <p:cNvPicPr>
            <a:picLocks noChangeAspect="1"/>
          </p:cNvPicPr>
          <p:nvPr/>
        </p:nvPicPr>
        <p:blipFill rotWithShape="1">
          <a:blip r:embed="rId3">
            <a:extLst>
              <a:ext uri="{28A0092B-C50C-407E-A947-70E740481C1C}">
                <a14:useLocalDpi xmlns:a14="http://schemas.microsoft.com/office/drawing/2010/main" val="0"/>
              </a:ext>
            </a:extLst>
          </a:blip>
          <a:srcRect r="15086"/>
          <a:stretch/>
        </p:blipFill>
        <p:spPr bwMode="auto">
          <a:xfrm flipV="1">
            <a:off x="518099" y="5059709"/>
            <a:ext cx="11276014" cy="443199"/>
          </a:xfrm>
          <a:prstGeom prst="rect">
            <a:avLst/>
          </a:prstGeom>
          <a:noFill/>
          <a:ln>
            <a:noFill/>
          </a:ln>
        </p:spPr>
      </p:pic>
      <p:grpSp>
        <p:nvGrpSpPr>
          <p:cNvPr id="10" name="Group 9">
            <a:extLst>
              <a:ext uri="{FF2B5EF4-FFF2-40B4-BE49-F238E27FC236}">
                <a16:creationId xmlns:a16="http://schemas.microsoft.com/office/drawing/2014/main" id="{AFC1B447-4232-8307-B27C-DEA98ACC5515}"/>
              </a:ext>
            </a:extLst>
          </p:cNvPr>
          <p:cNvGrpSpPr/>
          <p:nvPr/>
        </p:nvGrpSpPr>
        <p:grpSpPr>
          <a:xfrm>
            <a:off x="457992" y="1333396"/>
            <a:ext cx="11276012" cy="2512078"/>
            <a:chOff x="-28827416" y="-6081713"/>
            <a:chExt cx="59900656" cy="13344713"/>
          </a:xfrm>
        </p:grpSpPr>
        <p:pic>
          <p:nvPicPr>
            <p:cNvPr id="7" name="2F6DAD76-7189-441C-BDC8-4D08EAA72366">
              <a:extLst>
                <a:ext uri="{FF2B5EF4-FFF2-40B4-BE49-F238E27FC236}">
                  <a16:creationId xmlns:a16="http://schemas.microsoft.com/office/drawing/2014/main" id="{B46A7192-BFE9-8B5F-7F38-81EC884DDDD2}"/>
                </a:ext>
              </a:extLst>
            </p:cNvPr>
            <p:cNvPicPr>
              <a:picLocks noChangeAspect="1"/>
            </p:cNvPicPr>
            <p:nvPr/>
          </p:nvPicPr>
          <p:blipFill rotWithShape="1">
            <a:blip r:embed="rId4">
              <a:extLst>
                <a:ext uri="{28A0092B-C50C-407E-A947-70E740481C1C}">
                  <a14:useLocalDpi xmlns:a14="http://schemas.microsoft.com/office/drawing/2010/main" val="0"/>
                </a:ext>
              </a:extLst>
            </a:blip>
            <a:srcRect r="54509" b="33542"/>
            <a:stretch/>
          </p:blipFill>
          <p:spPr bwMode="auto">
            <a:xfrm>
              <a:off x="-28827416" y="-6081713"/>
              <a:ext cx="34242533" cy="12641183"/>
            </a:xfrm>
            <a:prstGeom prst="rect">
              <a:avLst/>
            </a:prstGeom>
            <a:noFill/>
            <a:ln>
              <a:noFill/>
            </a:ln>
          </p:spPr>
        </p:pic>
        <p:pic>
          <p:nvPicPr>
            <p:cNvPr id="8" name="2F6DAD76-7189-441C-BDC8-4D08EAA72366">
              <a:extLst>
                <a:ext uri="{FF2B5EF4-FFF2-40B4-BE49-F238E27FC236}">
                  <a16:creationId xmlns:a16="http://schemas.microsoft.com/office/drawing/2014/main" id="{0875C571-DA99-C1D0-707B-C3FF23D3BCA1}"/>
                </a:ext>
              </a:extLst>
            </p:cNvPr>
            <p:cNvPicPr>
              <a:picLocks noChangeAspect="1"/>
            </p:cNvPicPr>
            <p:nvPr/>
          </p:nvPicPr>
          <p:blipFill rotWithShape="1">
            <a:blip r:embed="rId4">
              <a:extLst>
                <a:ext uri="{28A0092B-C50C-407E-A947-70E740481C1C}">
                  <a14:useLocalDpi xmlns:a14="http://schemas.microsoft.com/office/drawing/2010/main" val="0"/>
                </a:ext>
              </a:extLst>
            </a:blip>
            <a:srcRect l="5221" r="54509" b="29844"/>
            <a:stretch/>
          </p:blipFill>
          <p:spPr bwMode="auto">
            <a:xfrm flipH="1">
              <a:off x="5415106" y="-6081713"/>
              <a:ext cx="25658134" cy="13344713"/>
            </a:xfrm>
            <a:prstGeom prst="rect">
              <a:avLst/>
            </a:prstGeom>
            <a:noFill/>
            <a:ln>
              <a:noFill/>
            </a:ln>
          </p:spPr>
        </p:pic>
      </p:grpSp>
      <p:sp>
        <p:nvSpPr>
          <p:cNvPr id="11" name="Rectangle 10">
            <a:extLst>
              <a:ext uri="{FF2B5EF4-FFF2-40B4-BE49-F238E27FC236}">
                <a16:creationId xmlns:a16="http://schemas.microsoft.com/office/drawing/2014/main" id="{2EBBD3DC-0664-BDD1-0A8E-0D9EFFD5FBBA}"/>
              </a:ext>
            </a:extLst>
          </p:cNvPr>
          <p:cNvSpPr/>
          <p:nvPr/>
        </p:nvSpPr>
        <p:spPr bwMode="gray">
          <a:xfrm>
            <a:off x="614594" y="3988473"/>
            <a:ext cx="2396181" cy="532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9AD7"/>
                </a:solidFill>
                <a:latin typeface="+mj-lt"/>
              </a:rPr>
              <a:t>Company Overview</a:t>
            </a:r>
          </a:p>
          <a:p>
            <a:r>
              <a:rPr lang="en-US" sz="1400" dirty="0">
                <a:solidFill>
                  <a:srgbClr val="002856"/>
                </a:solidFill>
              </a:rPr>
              <a:t>Expertise and philosophy</a:t>
            </a:r>
            <a:endParaRPr lang="en-GB" sz="1400" dirty="0">
              <a:solidFill>
                <a:schemeClr val="tx1"/>
              </a:solidFill>
            </a:endParaRPr>
          </a:p>
        </p:txBody>
      </p:sp>
      <p:grpSp>
        <p:nvGrpSpPr>
          <p:cNvPr id="12" name="Group 11">
            <a:extLst>
              <a:ext uri="{FF2B5EF4-FFF2-40B4-BE49-F238E27FC236}">
                <a16:creationId xmlns:a16="http://schemas.microsoft.com/office/drawing/2014/main" id="{59C9A74B-F70D-F758-65E6-916805AC56CB}"/>
              </a:ext>
            </a:extLst>
          </p:cNvPr>
          <p:cNvGrpSpPr>
            <a:grpSpLocks noChangeAspect="1"/>
          </p:cNvGrpSpPr>
          <p:nvPr/>
        </p:nvGrpSpPr>
        <p:grpSpPr bwMode="gray">
          <a:xfrm>
            <a:off x="571627" y="4624660"/>
            <a:ext cx="437532" cy="629457"/>
            <a:chOff x="1618613" y="2873596"/>
            <a:chExt cx="588454" cy="846582"/>
          </a:xfrm>
        </p:grpSpPr>
        <p:sp>
          <p:nvSpPr>
            <p:cNvPr id="13" name="Freeform: Shape 12">
              <a:extLst>
                <a:ext uri="{FF2B5EF4-FFF2-40B4-BE49-F238E27FC236}">
                  <a16:creationId xmlns:a16="http://schemas.microsoft.com/office/drawing/2014/main" id="{CECF6F1A-35DF-F40D-5DF1-B16D48A47F9B}"/>
                </a:ext>
              </a:extLst>
            </p:cNvPr>
            <p:cNvSpPr/>
            <p:nvPr/>
          </p:nvSpPr>
          <p:spPr bwMode="gray">
            <a:xfrm>
              <a:off x="1618613" y="2873596"/>
              <a:ext cx="588454" cy="846582"/>
            </a:xfrm>
            <a:custGeom>
              <a:avLst/>
              <a:gdLst>
                <a:gd name="connsiteX0" fmla="*/ 294227 w 588454"/>
                <a:gd name="connsiteY0" fmla="*/ 0 h 846581"/>
                <a:gd name="connsiteX1" fmla="*/ 0 w 588454"/>
                <a:gd name="connsiteY1" fmla="*/ 296323 h 846581"/>
                <a:gd name="connsiteX2" fmla="*/ 0 w 588454"/>
                <a:gd name="connsiteY2" fmla="*/ 304705 h 846581"/>
                <a:gd name="connsiteX3" fmla="*/ 33623 w 588454"/>
                <a:gd name="connsiteY3" fmla="*/ 443579 h 846581"/>
                <a:gd name="connsiteX4" fmla="*/ 294227 w 588454"/>
                <a:gd name="connsiteY4" fmla="*/ 846582 h 846581"/>
                <a:gd name="connsiteX5" fmla="*/ 554831 w 588454"/>
                <a:gd name="connsiteY5" fmla="*/ 443579 h 846581"/>
                <a:gd name="connsiteX6" fmla="*/ 588455 w 588454"/>
                <a:gd name="connsiteY6" fmla="*/ 304705 h 846581"/>
                <a:gd name="connsiteX7" fmla="*/ 588455 w 588454"/>
                <a:gd name="connsiteY7" fmla="*/ 296323 h 846581"/>
                <a:gd name="connsiteX8" fmla="*/ 294227 w 588454"/>
                <a:gd name="connsiteY8" fmla="*/ 0 h 846581"/>
                <a:gd name="connsiteX9" fmla="*/ 294227 w 588454"/>
                <a:gd name="connsiteY9" fmla="*/ 0 h 84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454" h="846581">
                  <a:moveTo>
                    <a:pt x="294227" y="0"/>
                  </a:moveTo>
                  <a:cubicBezTo>
                    <a:pt x="131159" y="0"/>
                    <a:pt x="0" y="132112"/>
                    <a:pt x="0" y="296323"/>
                  </a:cubicBezTo>
                  <a:cubicBezTo>
                    <a:pt x="0" y="299752"/>
                    <a:pt x="0" y="302990"/>
                    <a:pt x="0" y="304705"/>
                  </a:cubicBezTo>
                  <a:cubicBezTo>
                    <a:pt x="1715" y="352044"/>
                    <a:pt x="16859" y="404622"/>
                    <a:pt x="33623" y="443579"/>
                  </a:cubicBezTo>
                  <a:cubicBezTo>
                    <a:pt x="121063" y="646748"/>
                    <a:pt x="294227" y="846582"/>
                    <a:pt x="294227" y="846582"/>
                  </a:cubicBezTo>
                  <a:cubicBezTo>
                    <a:pt x="294227" y="846582"/>
                    <a:pt x="467392" y="645128"/>
                    <a:pt x="554831" y="443579"/>
                  </a:cubicBezTo>
                  <a:cubicBezTo>
                    <a:pt x="571691" y="404622"/>
                    <a:pt x="586740" y="352044"/>
                    <a:pt x="588455" y="304705"/>
                  </a:cubicBezTo>
                  <a:cubicBezTo>
                    <a:pt x="588455" y="301276"/>
                    <a:pt x="588455" y="298037"/>
                    <a:pt x="588455" y="296323"/>
                  </a:cubicBezTo>
                  <a:cubicBezTo>
                    <a:pt x="588455" y="132112"/>
                    <a:pt x="457295" y="0"/>
                    <a:pt x="294227" y="0"/>
                  </a:cubicBezTo>
                  <a:lnTo>
                    <a:pt x="294227" y="0"/>
                  </a:lnTo>
                  <a:close/>
                </a:path>
              </a:pathLst>
            </a:custGeom>
            <a:solidFill>
              <a:srgbClr val="002856"/>
            </a:solidFill>
            <a:ln w="9525"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461B2AA5-041A-FDA2-6726-661EEF2951F6}"/>
                </a:ext>
              </a:extLst>
            </p:cNvPr>
            <p:cNvSpPr/>
            <p:nvPr/>
          </p:nvSpPr>
          <p:spPr bwMode="gray">
            <a:xfrm>
              <a:off x="1707672" y="2950460"/>
              <a:ext cx="411479" cy="413194"/>
            </a:xfrm>
            <a:custGeom>
              <a:avLst/>
              <a:gdLst>
                <a:gd name="connsiteX0" fmla="*/ 205740 w 411479"/>
                <a:gd name="connsiteY0" fmla="*/ 413195 h 413194"/>
                <a:gd name="connsiteX1" fmla="*/ 0 w 411479"/>
                <a:gd name="connsiteY1" fmla="*/ 206597 h 413194"/>
                <a:gd name="connsiteX2" fmla="*/ 205740 w 411479"/>
                <a:gd name="connsiteY2" fmla="*/ 0 h 413194"/>
                <a:gd name="connsiteX3" fmla="*/ 411480 w 411479"/>
                <a:gd name="connsiteY3" fmla="*/ 206597 h 413194"/>
                <a:gd name="connsiteX4" fmla="*/ 205740 w 411479"/>
                <a:gd name="connsiteY4" fmla="*/ 413195 h 413194"/>
                <a:gd name="connsiteX5" fmla="*/ 205740 w 411479"/>
                <a:gd name="connsiteY5" fmla="*/ 413195 h 413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79" h="413194">
                  <a:moveTo>
                    <a:pt x="205740" y="413195"/>
                  </a:moveTo>
                  <a:cubicBezTo>
                    <a:pt x="92012" y="413195"/>
                    <a:pt x="0" y="320802"/>
                    <a:pt x="0" y="206597"/>
                  </a:cubicBezTo>
                  <a:cubicBezTo>
                    <a:pt x="0" y="92393"/>
                    <a:pt x="92107" y="0"/>
                    <a:pt x="205740" y="0"/>
                  </a:cubicBezTo>
                  <a:cubicBezTo>
                    <a:pt x="319373" y="0"/>
                    <a:pt x="411480" y="92393"/>
                    <a:pt x="411480" y="206597"/>
                  </a:cubicBezTo>
                  <a:cubicBezTo>
                    <a:pt x="411480" y="320802"/>
                    <a:pt x="319373" y="413195"/>
                    <a:pt x="205740" y="413195"/>
                  </a:cubicBezTo>
                  <a:lnTo>
                    <a:pt x="205740" y="413195"/>
                  </a:lnTo>
                  <a:close/>
                </a:path>
              </a:pathLst>
            </a:custGeom>
            <a:solidFill>
              <a:srgbClr val="009AD7"/>
            </a:solidFill>
            <a:ln w="9525" cap="flat">
              <a:noFill/>
              <a:prstDash val="solid"/>
              <a:miter/>
            </a:ln>
          </p:spPr>
          <p:txBody>
            <a:bodyPr rtlCol="0" anchor="ctr"/>
            <a:lstStyle/>
            <a:p>
              <a:endParaRPr lang="en-GB"/>
            </a:p>
          </p:txBody>
        </p:sp>
      </p:grpSp>
      <p:sp>
        <p:nvSpPr>
          <p:cNvPr id="16" name="Oval 15">
            <a:extLst>
              <a:ext uri="{FF2B5EF4-FFF2-40B4-BE49-F238E27FC236}">
                <a16:creationId xmlns:a16="http://schemas.microsoft.com/office/drawing/2014/main" id="{86795B68-4D53-14CE-4504-D0BBE018E1CA}"/>
              </a:ext>
            </a:extLst>
          </p:cNvPr>
          <p:cNvSpPr/>
          <p:nvPr/>
        </p:nvSpPr>
        <p:spPr>
          <a:xfrm>
            <a:off x="2085035" y="2089101"/>
            <a:ext cx="569513" cy="569513"/>
          </a:xfrm>
          <a:prstGeom prst="ellipse">
            <a:avLst/>
          </a:prstGeom>
          <a:solidFill>
            <a:srgbClr val="009AD7"/>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 name="Oval 17">
            <a:extLst>
              <a:ext uri="{FF2B5EF4-FFF2-40B4-BE49-F238E27FC236}">
                <a16:creationId xmlns:a16="http://schemas.microsoft.com/office/drawing/2014/main" id="{956D7F50-2E06-557B-2CAA-4DA5495BAAF1}"/>
              </a:ext>
            </a:extLst>
          </p:cNvPr>
          <p:cNvSpPr/>
          <p:nvPr/>
        </p:nvSpPr>
        <p:spPr>
          <a:xfrm>
            <a:off x="4125376" y="1498597"/>
            <a:ext cx="569513" cy="569513"/>
          </a:xfrm>
          <a:prstGeom prst="ellipse">
            <a:avLst/>
          </a:prstGeom>
          <a:solidFill>
            <a:srgbClr val="009AD7"/>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B5320478-49C4-8703-913C-EB931BCC7CD7}"/>
              </a:ext>
            </a:extLst>
          </p:cNvPr>
          <p:cNvSpPr/>
          <p:nvPr/>
        </p:nvSpPr>
        <p:spPr bwMode="gray">
          <a:xfrm>
            <a:off x="661651" y="2508556"/>
            <a:ext cx="1531046" cy="770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2856"/>
                </a:solidFill>
                <a:latin typeface="+mj-lt"/>
              </a:rPr>
              <a:t>Why Scope 3 is Important</a:t>
            </a:r>
          </a:p>
        </p:txBody>
      </p:sp>
      <p:sp>
        <p:nvSpPr>
          <p:cNvPr id="20" name="Oval 19">
            <a:extLst>
              <a:ext uri="{FF2B5EF4-FFF2-40B4-BE49-F238E27FC236}">
                <a16:creationId xmlns:a16="http://schemas.microsoft.com/office/drawing/2014/main" id="{E6B32EFE-0D0C-3FE8-063E-9383BD8BE324}"/>
              </a:ext>
            </a:extLst>
          </p:cNvPr>
          <p:cNvSpPr/>
          <p:nvPr/>
        </p:nvSpPr>
        <p:spPr>
          <a:xfrm>
            <a:off x="7511329" y="1947645"/>
            <a:ext cx="569513" cy="569513"/>
          </a:xfrm>
          <a:prstGeom prst="ellipse">
            <a:avLst/>
          </a:prstGeom>
          <a:solidFill>
            <a:srgbClr val="009AD7"/>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 name="Rectangle 20">
            <a:extLst>
              <a:ext uri="{FF2B5EF4-FFF2-40B4-BE49-F238E27FC236}">
                <a16:creationId xmlns:a16="http://schemas.microsoft.com/office/drawing/2014/main" id="{A65C4F5A-D07E-FA8F-6DA9-443FA3FED2DD}"/>
              </a:ext>
            </a:extLst>
          </p:cNvPr>
          <p:cNvSpPr/>
          <p:nvPr/>
        </p:nvSpPr>
        <p:spPr bwMode="gray">
          <a:xfrm>
            <a:off x="2960998" y="1429950"/>
            <a:ext cx="1531046" cy="770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2856"/>
                </a:solidFill>
                <a:latin typeface="+mj-lt"/>
              </a:rPr>
              <a:t>Company Overview</a:t>
            </a:r>
          </a:p>
        </p:txBody>
      </p:sp>
      <p:sp>
        <p:nvSpPr>
          <p:cNvPr id="22" name="Oval 21">
            <a:extLst>
              <a:ext uri="{FF2B5EF4-FFF2-40B4-BE49-F238E27FC236}">
                <a16:creationId xmlns:a16="http://schemas.microsoft.com/office/drawing/2014/main" id="{A16538FA-8363-C204-A899-DF8A8E46C7CC}"/>
              </a:ext>
            </a:extLst>
          </p:cNvPr>
          <p:cNvSpPr/>
          <p:nvPr/>
        </p:nvSpPr>
        <p:spPr>
          <a:xfrm>
            <a:off x="8843937" y="2024478"/>
            <a:ext cx="569513" cy="569513"/>
          </a:xfrm>
          <a:prstGeom prst="ellipse">
            <a:avLst/>
          </a:prstGeom>
          <a:solidFill>
            <a:srgbClr val="06C4B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Rectangle 22">
            <a:extLst>
              <a:ext uri="{FF2B5EF4-FFF2-40B4-BE49-F238E27FC236}">
                <a16:creationId xmlns:a16="http://schemas.microsoft.com/office/drawing/2014/main" id="{EFB6DE93-EC54-B199-33E1-9573D013672E}"/>
              </a:ext>
            </a:extLst>
          </p:cNvPr>
          <p:cNvSpPr/>
          <p:nvPr/>
        </p:nvSpPr>
        <p:spPr bwMode="gray">
          <a:xfrm>
            <a:off x="9499777" y="2410036"/>
            <a:ext cx="1313544" cy="260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2856"/>
                </a:solidFill>
                <a:latin typeface="+mj-lt"/>
              </a:rPr>
              <a:t>Standard Demo</a:t>
            </a:r>
          </a:p>
        </p:txBody>
      </p:sp>
      <p:sp>
        <p:nvSpPr>
          <p:cNvPr id="24" name="Rectangle 23">
            <a:extLst>
              <a:ext uri="{FF2B5EF4-FFF2-40B4-BE49-F238E27FC236}">
                <a16:creationId xmlns:a16="http://schemas.microsoft.com/office/drawing/2014/main" id="{78C0D08E-7A69-C02B-1B93-9C2450054AFB}"/>
              </a:ext>
            </a:extLst>
          </p:cNvPr>
          <p:cNvSpPr/>
          <p:nvPr/>
        </p:nvSpPr>
        <p:spPr bwMode="gray">
          <a:xfrm>
            <a:off x="6262612" y="1429950"/>
            <a:ext cx="1531046" cy="770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2856"/>
                </a:solidFill>
                <a:latin typeface="+mj-lt"/>
              </a:rPr>
              <a:t>Strongest Capabilities</a:t>
            </a:r>
            <a:endParaRPr lang="en-GB" sz="1600" dirty="0">
              <a:solidFill>
                <a:schemeClr val="tx1"/>
              </a:solidFill>
            </a:endParaRPr>
          </a:p>
        </p:txBody>
      </p:sp>
      <p:grpSp>
        <p:nvGrpSpPr>
          <p:cNvPr id="25" name="Group 24">
            <a:extLst>
              <a:ext uri="{FF2B5EF4-FFF2-40B4-BE49-F238E27FC236}">
                <a16:creationId xmlns:a16="http://schemas.microsoft.com/office/drawing/2014/main" id="{71CAD7FE-5248-371E-7838-14D806602ED2}"/>
              </a:ext>
            </a:extLst>
          </p:cNvPr>
          <p:cNvGrpSpPr>
            <a:grpSpLocks noChangeAspect="1"/>
          </p:cNvGrpSpPr>
          <p:nvPr/>
        </p:nvGrpSpPr>
        <p:grpSpPr bwMode="gray">
          <a:xfrm>
            <a:off x="2217016" y="4873451"/>
            <a:ext cx="437532" cy="629457"/>
            <a:chOff x="1618613" y="2873596"/>
            <a:chExt cx="588454" cy="846582"/>
          </a:xfrm>
        </p:grpSpPr>
        <p:sp>
          <p:nvSpPr>
            <p:cNvPr id="26" name="Freeform: Shape 25">
              <a:extLst>
                <a:ext uri="{FF2B5EF4-FFF2-40B4-BE49-F238E27FC236}">
                  <a16:creationId xmlns:a16="http://schemas.microsoft.com/office/drawing/2014/main" id="{1525A218-1C8C-433B-A424-786EE8B779CF}"/>
                </a:ext>
              </a:extLst>
            </p:cNvPr>
            <p:cNvSpPr/>
            <p:nvPr/>
          </p:nvSpPr>
          <p:spPr bwMode="gray">
            <a:xfrm>
              <a:off x="1618613" y="2873596"/>
              <a:ext cx="588454" cy="846582"/>
            </a:xfrm>
            <a:custGeom>
              <a:avLst/>
              <a:gdLst>
                <a:gd name="connsiteX0" fmla="*/ 294227 w 588454"/>
                <a:gd name="connsiteY0" fmla="*/ 0 h 846581"/>
                <a:gd name="connsiteX1" fmla="*/ 0 w 588454"/>
                <a:gd name="connsiteY1" fmla="*/ 296323 h 846581"/>
                <a:gd name="connsiteX2" fmla="*/ 0 w 588454"/>
                <a:gd name="connsiteY2" fmla="*/ 304705 h 846581"/>
                <a:gd name="connsiteX3" fmla="*/ 33623 w 588454"/>
                <a:gd name="connsiteY3" fmla="*/ 443579 h 846581"/>
                <a:gd name="connsiteX4" fmla="*/ 294227 w 588454"/>
                <a:gd name="connsiteY4" fmla="*/ 846582 h 846581"/>
                <a:gd name="connsiteX5" fmla="*/ 554831 w 588454"/>
                <a:gd name="connsiteY5" fmla="*/ 443579 h 846581"/>
                <a:gd name="connsiteX6" fmla="*/ 588455 w 588454"/>
                <a:gd name="connsiteY6" fmla="*/ 304705 h 846581"/>
                <a:gd name="connsiteX7" fmla="*/ 588455 w 588454"/>
                <a:gd name="connsiteY7" fmla="*/ 296323 h 846581"/>
                <a:gd name="connsiteX8" fmla="*/ 294227 w 588454"/>
                <a:gd name="connsiteY8" fmla="*/ 0 h 846581"/>
                <a:gd name="connsiteX9" fmla="*/ 294227 w 588454"/>
                <a:gd name="connsiteY9" fmla="*/ 0 h 84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454" h="846581">
                  <a:moveTo>
                    <a:pt x="294227" y="0"/>
                  </a:moveTo>
                  <a:cubicBezTo>
                    <a:pt x="131159" y="0"/>
                    <a:pt x="0" y="132112"/>
                    <a:pt x="0" y="296323"/>
                  </a:cubicBezTo>
                  <a:cubicBezTo>
                    <a:pt x="0" y="299752"/>
                    <a:pt x="0" y="302990"/>
                    <a:pt x="0" y="304705"/>
                  </a:cubicBezTo>
                  <a:cubicBezTo>
                    <a:pt x="1715" y="352044"/>
                    <a:pt x="16859" y="404622"/>
                    <a:pt x="33623" y="443579"/>
                  </a:cubicBezTo>
                  <a:cubicBezTo>
                    <a:pt x="121063" y="646748"/>
                    <a:pt x="294227" y="846582"/>
                    <a:pt x="294227" y="846582"/>
                  </a:cubicBezTo>
                  <a:cubicBezTo>
                    <a:pt x="294227" y="846582"/>
                    <a:pt x="467392" y="645128"/>
                    <a:pt x="554831" y="443579"/>
                  </a:cubicBezTo>
                  <a:cubicBezTo>
                    <a:pt x="571691" y="404622"/>
                    <a:pt x="586740" y="352044"/>
                    <a:pt x="588455" y="304705"/>
                  </a:cubicBezTo>
                  <a:cubicBezTo>
                    <a:pt x="588455" y="301276"/>
                    <a:pt x="588455" y="298037"/>
                    <a:pt x="588455" y="296323"/>
                  </a:cubicBezTo>
                  <a:cubicBezTo>
                    <a:pt x="588455" y="132112"/>
                    <a:pt x="457295" y="0"/>
                    <a:pt x="294227" y="0"/>
                  </a:cubicBezTo>
                  <a:lnTo>
                    <a:pt x="294227" y="0"/>
                  </a:lnTo>
                  <a:close/>
                </a:path>
              </a:pathLst>
            </a:custGeom>
            <a:solidFill>
              <a:srgbClr val="002856"/>
            </a:solidFill>
            <a:ln w="9525"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1C0C7773-8579-052A-FA26-FD14AB819ABA}"/>
                </a:ext>
              </a:extLst>
            </p:cNvPr>
            <p:cNvSpPr/>
            <p:nvPr/>
          </p:nvSpPr>
          <p:spPr bwMode="gray">
            <a:xfrm>
              <a:off x="1707672" y="2950460"/>
              <a:ext cx="411479" cy="413194"/>
            </a:xfrm>
            <a:custGeom>
              <a:avLst/>
              <a:gdLst>
                <a:gd name="connsiteX0" fmla="*/ 205740 w 411479"/>
                <a:gd name="connsiteY0" fmla="*/ 413195 h 413194"/>
                <a:gd name="connsiteX1" fmla="*/ 0 w 411479"/>
                <a:gd name="connsiteY1" fmla="*/ 206597 h 413194"/>
                <a:gd name="connsiteX2" fmla="*/ 205740 w 411479"/>
                <a:gd name="connsiteY2" fmla="*/ 0 h 413194"/>
                <a:gd name="connsiteX3" fmla="*/ 411480 w 411479"/>
                <a:gd name="connsiteY3" fmla="*/ 206597 h 413194"/>
                <a:gd name="connsiteX4" fmla="*/ 205740 w 411479"/>
                <a:gd name="connsiteY4" fmla="*/ 413195 h 413194"/>
                <a:gd name="connsiteX5" fmla="*/ 205740 w 411479"/>
                <a:gd name="connsiteY5" fmla="*/ 413195 h 413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79" h="413194">
                  <a:moveTo>
                    <a:pt x="205740" y="413195"/>
                  </a:moveTo>
                  <a:cubicBezTo>
                    <a:pt x="92012" y="413195"/>
                    <a:pt x="0" y="320802"/>
                    <a:pt x="0" y="206597"/>
                  </a:cubicBezTo>
                  <a:cubicBezTo>
                    <a:pt x="0" y="92393"/>
                    <a:pt x="92107" y="0"/>
                    <a:pt x="205740" y="0"/>
                  </a:cubicBezTo>
                  <a:cubicBezTo>
                    <a:pt x="319373" y="0"/>
                    <a:pt x="411480" y="92393"/>
                    <a:pt x="411480" y="206597"/>
                  </a:cubicBezTo>
                  <a:cubicBezTo>
                    <a:pt x="411480" y="320802"/>
                    <a:pt x="319373" y="413195"/>
                    <a:pt x="205740" y="413195"/>
                  </a:cubicBezTo>
                  <a:lnTo>
                    <a:pt x="205740" y="413195"/>
                  </a:lnTo>
                  <a:close/>
                </a:path>
              </a:pathLst>
            </a:custGeom>
            <a:solidFill>
              <a:srgbClr val="009AD7"/>
            </a:solidFill>
            <a:ln w="9525" cap="flat">
              <a:noFill/>
              <a:prstDash val="solid"/>
              <a:miter/>
            </a:ln>
          </p:spPr>
          <p:txBody>
            <a:bodyPr rtlCol="0" anchor="ctr"/>
            <a:lstStyle/>
            <a:p>
              <a:endParaRPr lang="en-GB"/>
            </a:p>
          </p:txBody>
        </p:sp>
      </p:grpSp>
      <p:grpSp>
        <p:nvGrpSpPr>
          <p:cNvPr id="28" name="Group 27">
            <a:extLst>
              <a:ext uri="{FF2B5EF4-FFF2-40B4-BE49-F238E27FC236}">
                <a16:creationId xmlns:a16="http://schemas.microsoft.com/office/drawing/2014/main" id="{0C4C3D4A-8C77-0A81-0D6B-41D1539C2448}"/>
              </a:ext>
            </a:extLst>
          </p:cNvPr>
          <p:cNvGrpSpPr>
            <a:grpSpLocks noChangeAspect="1"/>
          </p:cNvGrpSpPr>
          <p:nvPr/>
        </p:nvGrpSpPr>
        <p:grpSpPr bwMode="gray">
          <a:xfrm>
            <a:off x="3974891" y="4588820"/>
            <a:ext cx="437532" cy="629457"/>
            <a:chOff x="1618613" y="2873596"/>
            <a:chExt cx="588454" cy="846582"/>
          </a:xfrm>
        </p:grpSpPr>
        <p:sp>
          <p:nvSpPr>
            <p:cNvPr id="29" name="Freeform: Shape 28">
              <a:extLst>
                <a:ext uri="{FF2B5EF4-FFF2-40B4-BE49-F238E27FC236}">
                  <a16:creationId xmlns:a16="http://schemas.microsoft.com/office/drawing/2014/main" id="{E9C70C4E-3FBF-B8F7-ABBB-A4F8599CE718}"/>
                </a:ext>
              </a:extLst>
            </p:cNvPr>
            <p:cNvSpPr/>
            <p:nvPr/>
          </p:nvSpPr>
          <p:spPr bwMode="gray">
            <a:xfrm>
              <a:off x="1618613" y="2873596"/>
              <a:ext cx="588454" cy="846582"/>
            </a:xfrm>
            <a:custGeom>
              <a:avLst/>
              <a:gdLst>
                <a:gd name="connsiteX0" fmla="*/ 294227 w 588454"/>
                <a:gd name="connsiteY0" fmla="*/ 0 h 846581"/>
                <a:gd name="connsiteX1" fmla="*/ 0 w 588454"/>
                <a:gd name="connsiteY1" fmla="*/ 296323 h 846581"/>
                <a:gd name="connsiteX2" fmla="*/ 0 w 588454"/>
                <a:gd name="connsiteY2" fmla="*/ 304705 h 846581"/>
                <a:gd name="connsiteX3" fmla="*/ 33623 w 588454"/>
                <a:gd name="connsiteY3" fmla="*/ 443579 h 846581"/>
                <a:gd name="connsiteX4" fmla="*/ 294227 w 588454"/>
                <a:gd name="connsiteY4" fmla="*/ 846582 h 846581"/>
                <a:gd name="connsiteX5" fmla="*/ 554831 w 588454"/>
                <a:gd name="connsiteY5" fmla="*/ 443579 h 846581"/>
                <a:gd name="connsiteX6" fmla="*/ 588455 w 588454"/>
                <a:gd name="connsiteY6" fmla="*/ 304705 h 846581"/>
                <a:gd name="connsiteX7" fmla="*/ 588455 w 588454"/>
                <a:gd name="connsiteY7" fmla="*/ 296323 h 846581"/>
                <a:gd name="connsiteX8" fmla="*/ 294227 w 588454"/>
                <a:gd name="connsiteY8" fmla="*/ 0 h 846581"/>
                <a:gd name="connsiteX9" fmla="*/ 294227 w 588454"/>
                <a:gd name="connsiteY9" fmla="*/ 0 h 84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454" h="846581">
                  <a:moveTo>
                    <a:pt x="294227" y="0"/>
                  </a:moveTo>
                  <a:cubicBezTo>
                    <a:pt x="131159" y="0"/>
                    <a:pt x="0" y="132112"/>
                    <a:pt x="0" y="296323"/>
                  </a:cubicBezTo>
                  <a:cubicBezTo>
                    <a:pt x="0" y="299752"/>
                    <a:pt x="0" y="302990"/>
                    <a:pt x="0" y="304705"/>
                  </a:cubicBezTo>
                  <a:cubicBezTo>
                    <a:pt x="1715" y="352044"/>
                    <a:pt x="16859" y="404622"/>
                    <a:pt x="33623" y="443579"/>
                  </a:cubicBezTo>
                  <a:cubicBezTo>
                    <a:pt x="121063" y="646748"/>
                    <a:pt x="294227" y="846582"/>
                    <a:pt x="294227" y="846582"/>
                  </a:cubicBezTo>
                  <a:cubicBezTo>
                    <a:pt x="294227" y="846582"/>
                    <a:pt x="467392" y="645128"/>
                    <a:pt x="554831" y="443579"/>
                  </a:cubicBezTo>
                  <a:cubicBezTo>
                    <a:pt x="571691" y="404622"/>
                    <a:pt x="586740" y="352044"/>
                    <a:pt x="588455" y="304705"/>
                  </a:cubicBezTo>
                  <a:cubicBezTo>
                    <a:pt x="588455" y="301276"/>
                    <a:pt x="588455" y="298037"/>
                    <a:pt x="588455" y="296323"/>
                  </a:cubicBezTo>
                  <a:cubicBezTo>
                    <a:pt x="588455" y="132112"/>
                    <a:pt x="457295" y="0"/>
                    <a:pt x="294227" y="0"/>
                  </a:cubicBezTo>
                  <a:lnTo>
                    <a:pt x="294227" y="0"/>
                  </a:lnTo>
                  <a:close/>
                </a:path>
              </a:pathLst>
            </a:custGeom>
            <a:solidFill>
              <a:srgbClr val="002856"/>
            </a:solidFill>
            <a:ln w="9525"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C57CF89A-1F3A-2990-A7AA-0A370A4612C0}"/>
                </a:ext>
              </a:extLst>
            </p:cNvPr>
            <p:cNvSpPr/>
            <p:nvPr/>
          </p:nvSpPr>
          <p:spPr bwMode="gray">
            <a:xfrm>
              <a:off x="1707672" y="2950460"/>
              <a:ext cx="411479" cy="413194"/>
            </a:xfrm>
            <a:custGeom>
              <a:avLst/>
              <a:gdLst>
                <a:gd name="connsiteX0" fmla="*/ 205740 w 411479"/>
                <a:gd name="connsiteY0" fmla="*/ 413195 h 413194"/>
                <a:gd name="connsiteX1" fmla="*/ 0 w 411479"/>
                <a:gd name="connsiteY1" fmla="*/ 206597 h 413194"/>
                <a:gd name="connsiteX2" fmla="*/ 205740 w 411479"/>
                <a:gd name="connsiteY2" fmla="*/ 0 h 413194"/>
                <a:gd name="connsiteX3" fmla="*/ 411480 w 411479"/>
                <a:gd name="connsiteY3" fmla="*/ 206597 h 413194"/>
                <a:gd name="connsiteX4" fmla="*/ 205740 w 411479"/>
                <a:gd name="connsiteY4" fmla="*/ 413195 h 413194"/>
                <a:gd name="connsiteX5" fmla="*/ 205740 w 411479"/>
                <a:gd name="connsiteY5" fmla="*/ 413195 h 413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79" h="413194">
                  <a:moveTo>
                    <a:pt x="205740" y="413195"/>
                  </a:moveTo>
                  <a:cubicBezTo>
                    <a:pt x="92012" y="413195"/>
                    <a:pt x="0" y="320802"/>
                    <a:pt x="0" y="206597"/>
                  </a:cubicBezTo>
                  <a:cubicBezTo>
                    <a:pt x="0" y="92393"/>
                    <a:pt x="92107" y="0"/>
                    <a:pt x="205740" y="0"/>
                  </a:cubicBezTo>
                  <a:cubicBezTo>
                    <a:pt x="319373" y="0"/>
                    <a:pt x="411480" y="92393"/>
                    <a:pt x="411480" y="206597"/>
                  </a:cubicBezTo>
                  <a:cubicBezTo>
                    <a:pt x="411480" y="320802"/>
                    <a:pt x="319373" y="413195"/>
                    <a:pt x="205740" y="413195"/>
                  </a:cubicBezTo>
                  <a:lnTo>
                    <a:pt x="205740" y="413195"/>
                  </a:lnTo>
                  <a:close/>
                </a:path>
              </a:pathLst>
            </a:custGeom>
            <a:solidFill>
              <a:srgbClr val="06C4B0"/>
            </a:solidFill>
            <a:ln w="9525" cap="flat">
              <a:noFill/>
              <a:prstDash val="solid"/>
              <a:miter/>
            </a:ln>
          </p:spPr>
          <p:txBody>
            <a:bodyPr rtlCol="0" anchor="ctr"/>
            <a:lstStyle/>
            <a:p>
              <a:endParaRPr lang="en-GB"/>
            </a:p>
          </p:txBody>
        </p:sp>
      </p:grpSp>
      <p:sp>
        <p:nvSpPr>
          <p:cNvPr id="31" name="Rectangle 30">
            <a:extLst>
              <a:ext uri="{FF2B5EF4-FFF2-40B4-BE49-F238E27FC236}">
                <a16:creationId xmlns:a16="http://schemas.microsoft.com/office/drawing/2014/main" id="{B7B4F569-D178-F12C-1472-562C4503E264}"/>
              </a:ext>
            </a:extLst>
          </p:cNvPr>
          <p:cNvSpPr/>
          <p:nvPr/>
        </p:nvSpPr>
        <p:spPr bwMode="gray">
          <a:xfrm>
            <a:off x="2372847" y="5634499"/>
            <a:ext cx="3076231" cy="770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9AD7"/>
                </a:solidFill>
                <a:latin typeface="+mj-lt"/>
              </a:rPr>
              <a:t>Relevant Customer Base</a:t>
            </a:r>
          </a:p>
          <a:p>
            <a:r>
              <a:rPr lang="en-US" sz="1400" dirty="0">
                <a:solidFill>
                  <a:srgbClr val="002856"/>
                </a:solidFill>
              </a:rPr>
              <a:t>Industry, size, complexity and ambition</a:t>
            </a:r>
          </a:p>
        </p:txBody>
      </p:sp>
      <p:sp>
        <p:nvSpPr>
          <p:cNvPr id="32" name="Oval 31">
            <a:extLst>
              <a:ext uri="{FF2B5EF4-FFF2-40B4-BE49-F238E27FC236}">
                <a16:creationId xmlns:a16="http://schemas.microsoft.com/office/drawing/2014/main" id="{B41781CE-335F-7CB3-FA6D-ED7F261B0885}"/>
              </a:ext>
            </a:extLst>
          </p:cNvPr>
          <p:cNvSpPr/>
          <p:nvPr/>
        </p:nvSpPr>
        <p:spPr>
          <a:xfrm>
            <a:off x="5713181" y="2540485"/>
            <a:ext cx="569513" cy="569513"/>
          </a:xfrm>
          <a:prstGeom prst="ellipse">
            <a:avLst/>
          </a:prstGeom>
          <a:solidFill>
            <a:srgbClr val="009AD7"/>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2F866DED-6052-986E-137C-44BCA7C4D75F}"/>
              </a:ext>
            </a:extLst>
          </p:cNvPr>
          <p:cNvSpPr/>
          <p:nvPr/>
        </p:nvSpPr>
        <p:spPr bwMode="gray">
          <a:xfrm>
            <a:off x="4621396" y="2999671"/>
            <a:ext cx="1531046" cy="7705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2856"/>
                </a:solidFill>
                <a:latin typeface="+mj-lt"/>
              </a:rPr>
              <a:t>Customer Base</a:t>
            </a:r>
            <a:endParaRPr lang="en-GB" sz="1600" dirty="0">
              <a:solidFill>
                <a:schemeClr val="tx1"/>
              </a:solidFill>
            </a:endParaRPr>
          </a:p>
        </p:txBody>
      </p:sp>
      <p:sp>
        <p:nvSpPr>
          <p:cNvPr id="34" name="Rectangle 33">
            <a:extLst>
              <a:ext uri="{FF2B5EF4-FFF2-40B4-BE49-F238E27FC236}">
                <a16:creationId xmlns:a16="http://schemas.microsoft.com/office/drawing/2014/main" id="{3C6A657E-B6B5-9E18-CAE4-2DAFA50D68E8}"/>
              </a:ext>
            </a:extLst>
          </p:cNvPr>
          <p:cNvSpPr/>
          <p:nvPr/>
        </p:nvSpPr>
        <p:spPr bwMode="gray">
          <a:xfrm>
            <a:off x="3981543" y="3988473"/>
            <a:ext cx="2762429" cy="532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9AD7"/>
                </a:solidFill>
                <a:latin typeface="+mj-lt"/>
              </a:rPr>
              <a:t>Tailored Demo</a:t>
            </a:r>
          </a:p>
          <a:p>
            <a:r>
              <a:rPr lang="en-US" sz="1400" dirty="0">
                <a:solidFill>
                  <a:srgbClr val="002856"/>
                </a:solidFill>
              </a:rPr>
              <a:t>Focused on desired outcomes</a:t>
            </a:r>
          </a:p>
        </p:txBody>
      </p:sp>
      <p:sp>
        <p:nvSpPr>
          <p:cNvPr id="35" name="Rectangle 34">
            <a:extLst>
              <a:ext uri="{FF2B5EF4-FFF2-40B4-BE49-F238E27FC236}">
                <a16:creationId xmlns:a16="http://schemas.microsoft.com/office/drawing/2014/main" id="{E9B9AD31-040E-C7FC-605B-27260033D171}"/>
              </a:ext>
            </a:extLst>
          </p:cNvPr>
          <p:cNvSpPr/>
          <p:nvPr/>
        </p:nvSpPr>
        <p:spPr bwMode="gray">
          <a:xfrm>
            <a:off x="9281011" y="3988473"/>
            <a:ext cx="2762429" cy="532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009AD7"/>
                </a:solidFill>
                <a:latin typeface="+mj-lt"/>
              </a:rPr>
              <a:t>Time to Value</a:t>
            </a:r>
          </a:p>
          <a:p>
            <a:r>
              <a:rPr lang="en-US" sz="1400" dirty="0">
                <a:solidFill>
                  <a:srgbClr val="002856"/>
                </a:solidFill>
              </a:rPr>
              <a:t>Supplier adoption and support</a:t>
            </a:r>
          </a:p>
        </p:txBody>
      </p:sp>
      <p:grpSp>
        <p:nvGrpSpPr>
          <p:cNvPr id="36" name="Group 35">
            <a:extLst>
              <a:ext uri="{FF2B5EF4-FFF2-40B4-BE49-F238E27FC236}">
                <a16:creationId xmlns:a16="http://schemas.microsoft.com/office/drawing/2014/main" id="{5E04519C-3375-B5ED-4820-4D3D7EBA295E}"/>
              </a:ext>
            </a:extLst>
          </p:cNvPr>
          <p:cNvGrpSpPr>
            <a:grpSpLocks noChangeAspect="1"/>
          </p:cNvGrpSpPr>
          <p:nvPr/>
        </p:nvGrpSpPr>
        <p:grpSpPr bwMode="gray">
          <a:xfrm>
            <a:off x="9062245" y="4588820"/>
            <a:ext cx="437532" cy="629457"/>
            <a:chOff x="1618613" y="2873596"/>
            <a:chExt cx="588454" cy="846582"/>
          </a:xfrm>
        </p:grpSpPr>
        <p:sp>
          <p:nvSpPr>
            <p:cNvPr id="37" name="Freeform: Shape 36">
              <a:extLst>
                <a:ext uri="{FF2B5EF4-FFF2-40B4-BE49-F238E27FC236}">
                  <a16:creationId xmlns:a16="http://schemas.microsoft.com/office/drawing/2014/main" id="{02978991-5848-FFB5-423D-0F763C39EBB3}"/>
                </a:ext>
              </a:extLst>
            </p:cNvPr>
            <p:cNvSpPr/>
            <p:nvPr/>
          </p:nvSpPr>
          <p:spPr bwMode="gray">
            <a:xfrm>
              <a:off x="1618613" y="2873596"/>
              <a:ext cx="588454" cy="846582"/>
            </a:xfrm>
            <a:custGeom>
              <a:avLst/>
              <a:gdLst>
                <a:gd name="connsiteX0" fmla="*/ 294227 w 588454"/>
                <a:gd name="connsiteY0" fmla="*/ 0 h 846581"/>
                <a:gd name="connsiteX1" fmla="*/ 0 w 588454"/>
                <a:gd name="connsiteY1" fmla="*/ 296323 h 846581"/>
                <a:gd name="connsiteX2" fmla="*/ 0 w 588454"/>
                <a:gd name="connsiteY2" fmla="*/ 304705 h 846581"/>
                <a:gd name="connsiteX3" fmla="*/ 33623 w 588454"/>
                <a:gd name="connsiteY3" fmla="*/ 443579 h 846581"/>
                <a:gd name="connsiteX4" fmla="*/ 294227 w 588454"/>
                <a:gd name="connsiteY4" fmla="*/ 846582 h 846581"/>
                <a:gd name="connsiteX5" fmla="*/ 554831 w 588454"/>
                <a:gd name="connsiteY5" fmla="*/ 443579 h 846581"/>
                <a:gd name="connsiteX6" fmla="*/ 588455 w 588454"/>
                <a:gd name="connsiteY6" fmla="*/ 304705 h 846581"/>
                <a:gd name="connsiteX7" fmla="*/ 588455 w 588454"/>
                <a:gd name="connsiteY7" fmla="*/ 296323 h 846581"/>
                <a:gd name="connsiteX8" fmla="*/ 294227 w 588454"/>
                <a:gd name="connsiteY8" fmla="*/ 0 h 846581"/>
                <a:gd name="connsiteX9" fmla="*/ 294227 w 588454"/>
                <a:gd name="connsiteY9" fmla="*/ 0 h 84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8454" h="846581">
                  <a:moveTo>
                    <a:pt x="294227" y="0"/>
                  </a:moveTo>
                  <a:cubicBezTo>
                    <a:pt x="131159" y="0"/>
                    <a:pt x="0" y="132112"/>
                    <a:pt x="0" y="296323"/>
                  </a:cubicBezTo>
                  <a:cubicBezTo>
                    <a:pt x="0" y="299752"/>
                    <a:pt x="0" y="302990"/>
                    <a:pt x="0" y="304705"/>
                  </a:cubicBezTo>
                  <a:cubicBezTo>
                    <a:pt x="1715" y="352044"/>
                    <a:pt x="16859" y="404622"/>
                    <a:pt x="33623" y="443579"/>
                  </a:cubicBezTo>
                  <a:cubicBezTo>
                    <a:pt x="121063" y="646748"/>
                    <a:pt x="294227" y="846582"/>
                    <a:pt x="294227" y="846582"/>
                  </a:cubicBezTo>
                  <a:cubicBezTo>
                    <a:pt x="294227" y="846582"/>
                    <a:pt x="467392" y="645128"/>
                    <a:pt x="554831" y="443579"/>
                  </a:cubicBezTo>
                  <a:cubicBezTo>
                    <a:pt x="571691" y="404622"/>
                    <a:pt x="586740" y="352044"/>
                    <a:pt x="588455" y="304705"/>
                  </a:cubicBezTo>
                  <a:cubicBezTo>
                    <a:pt x="588455" y="301276"/>
                    <a:pt x="588455" y="298037"/>
                    <a:pt x="588455" y="296323"/>
                  </a:cubicBezTo>
                  <a:cubicBezTo>
                    <a:pt x="588455" y="132112"/>
                    <a:pt x="457295" y="0"/>
                    <a:pt x="294227" y="0"/>
                  </a:cubicBezTo>
                  <a:lnTo>
                    <a:pt x="294227" y="0"/>
                  </a:lnTo>
                  <a:close/>
                </a:path>
              </a:pathLst>
            </a:custGeom>
            <a:solidFill>
              <a:srgbClr val="002856"/>
            </a:solidFill>
            <a:ln w="9525"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FE039BE3-30F3-D959-2E65-AC29F36DAFBC}"/>
                </a:ext>
              </a:extLst>
            </p:cNvPr>
            <p:cNvSpPr/>
            <p:nvPr/>
          </p:nvSpPr>
          <p:spPr bwMode="gray">
            <a:xfrm>
              <a:off x="1707672" y="2950460"/>
              <a:ext cx="411479" cy="413194"/>
            </a:xfrm>
            <a:custGeom>
              <a:avLst/>
              <a:gdLst>
                <a:gd name="connsiteX0" fmla="*/ 205740 w 411479"/>
                <a:gd name="connsiteY0" fmla="*/ 413195 h 413194"/>
                <a:gd name="connsiteX1" fmla="*/ 0 w 411479"/>
                <a:gd name="connsiteY1" fmla="*/ 206597 h 413194"/>
                <a:gd name="connsiteX2" fmla="*/ 205740 w 411479"/>
                <a:gd name="connsiteY2" fmla="*/ 0 h 413194"/>
                <a:gd name="connsiteX3" fmla="*/ 411480 w 411479"/>
                <a:gd name="connsiteY3" fmla="*/ 206597 h 413194"/>
                <a:gd name="connsiteX4" fmla="*/ 205740 w 411479"/>
                <a:gd name="connsiteY4" fmla="*/ 413195 h 413194"/>
                <a:gd name="connsiteX5" fmla="*/ 205740 w 411479"/>
                <a:gd name="connsiteY5" fmla="*/ 413195 h 413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479" h="413194">
                  <a:moveTo>
                    <a:pt x="205740" y="413195"/>
                  </a:moveTo>
                  <a:cubicBezTo>
                    <a:pt x="92012" y="413195"/>
                    <a:pt x="0" y="320802"/>
                    <a:pt x="0" y="206597"/>
                  </a:cubicBezTo>
                  <a:cubicBezTo>
                    <a:pt x="0" y="92393"/>
                    <a:pt x="92107" y="0"/>
                    <a:pt x="205740" y="0"/>
                  </a:cubicBezTo>
                  <a:cubicBezTo>
                    <a:pt x="319373" y="0"/>
                    <a:pt x="411480" y="92393"/>
                    <a:pt x="411480" y="206597"/>
                  </a:cubicBezTo>
                  <a:cubicBezTo>
                    <a:pt x="411480" y="320802"/>
                    <a:pt x="319373" y="413195"/>
                    <a:pt x="205740" y="413195"/>
                  </a:cubicBezTo>
                  <a:lnTo>
                    <a:pt x="205740" y="413195"/>
                  </a:lnTo>
                  <a:close/>
                </a:path>
              </a:pathLst>
            </a:custGeom>
            <a:solidFill>
              <a:srgbClr val="009AD7"/>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32176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fade">
                                      <p:cBhvr>
                                        <p:cTn id="47" dur="500"/>
                                        <p:tgtEl>
                                          <p:spTgt spid="5"/>
                                        </p:tgtEl>
                                      </p:cBhvr>
                                    </p:animEffect>
                                  </p:childTnLst>
                                </p:cTn>
                              </p:par>
                              <p:par>
                                <p:cTn id="48" presetID="10" presetClass="exit" presetSubtype="0" fill="hold" grpId="1" nodeType="withEffect">
                                  <p:stCondLst>
                                    <p:cond delay="0"/>
                                  </p:stCondLst>
                                  <p:childTnLst>
                                    <p:animEffect transition="out" filter="fade">
                                      <p:cBhvr>
                                        <p:cTn id="49" dur="500"/>
                                        <p:tgtEl>
                                          <p:spTgt spid="19"/>
                                        </p:tgtEl>
                                      </p:cBhvr>
                                    </p:animEffect>
                                    <p:set>
                                      <p:cBhvr>
                                        <p:cTn id="50" dur="1" fill="hold">
                                          <p:stCondLst>
                                            <p:cond delay="499"/>
                                          </p:stCondLst>
                                        </p:cTn>
                                        <p:tgtEl>
                                          <p:spTgt spid="19"/>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21"/>
                                        </p:tgtEl>
                                      </p:cBhvr>
                                    </p:animEffect>
                                    <p:set>
                                      <p:cBhvr>
                                        <p:cTn id="53" dur="1" fill="hold">
                                          <p:stCondLst>
                                            <p:cond delay="499"/>
                                          </p:stCondLst>
                                        </p:cTn>
                                        <p:tgtEl>
                                          <p:spTgt spid="21"/>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33"/>
                                        </p:tgtEl>
                                      </p:cBhvr>
                                    </p:animEffect>
                                    <p:set>
                                      <p:cBhvr>
                                        <p:cTn id="56" dur="1" fill="hold">
                                          <p:stCondLst>
                                            <p:cond delay="499"/>
                                          </p:stCondLst>
                                        </p:cTn>
                                        <p:tgtEl>
                                          <p:spTgt spid="33"/>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24"/>
                                        </p:tgtEl>
                                      </p:cBhvr>
                                    </p:animEffect>
                                    <p:set>
                                      <p:cBhvr>
                                        <p:cTn id="59" dur="1" fill="hold">
                                          <p:stCondLst>
                                            <p:cond delay="499"/>
                                          </p:stCondLst>
                                        </p:cTn>
                                        <p:tgtEl>
                                          <p:spTgt spid="24"/>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23"/>
                                        </p:tgtEl>
                                      </p:cBhvr>
                                    </p:animEffect>
                                    <p:set>
                                      <p:cBhvr>
                                        <p:cTn id="62" dur="1" fill="hold">
                                          <p:stCondLst>
                                            <p:cond delay="499"/>
                                          </p:stCondLst>
                                        </p:cTn>
                                        <p:tgtEl>
                                          <p:spTgt spid="23"/>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500"/>
                                        <p:tgtEl>
                                          <p:spTgt spid="11"/>
                                        </p:tgtEl>
                                      </p:cBhvr>
                                    </p:animEffect>
                                  </p:childTnLst>
                                </p:cTn>
                              </p:par>
                              <p:par>
                                <p:cTn id="68" presetID="10" presetClass="entr" presetSubtype="0" fill="hold" nodeType="withEffect">
                                  <p:stCondLst>
                                    <p:cond delay="0"/>
                                  </p:stCondLst>
                                  <p:childTnLst>
                                    <p:set>
                                      <p:cBhvr>
                                        <p:cTn id="69" dur="1" fill="hold">
                                          <p:stCondLst>
                                            <p:cond delay="0"/>
                                          </p:stCondLst>
                                        </p:cTn>
                                        <p:tgtEl>
                                          <p:spTgt spid="12"/>
                                        </p:tgtEl>
                                        <p:attrNameLst>
                                          <p:attrName>style.visibility</p:attrName>
                                        </p:attrNameLst>
                                      </p:cBhvr>
                                      <p:to>
                                        <p:strVal val="visible"/>
                                      </p:to>
                                    </p:set>
                                    <p:animEffect transition="in" filter="fade">
                                      <p:cBhvr>
                                        <p:cTn id="70" dur="500"/>
                                        <p:tgtEl>
                                          <p:spTgt spid="1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5"/>
                                        </p:tgtEl>
                                        <p:attrNameLst>
                                          <p:attrName>style.visibility</p:attrName>
                                        </p:attrNameLst>
                                      </p:cBhvr>
                                      <p:to>
                                        <p:strVal val="visible"/>
                                      </p:to>
                                    </p:set>
                                    <p:animEffect transition="in" filter="fade">
                                      <p:cBhvr>
                                        <p:cTn id="75" dur="500"/>
                                        <p:tgtEl>
                                          <p:spTgt spid="2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1"/>
                                        </p:tgtEl>
                                        <p:attrNameLst>
                                          <p:attrName>style.visibility</p:attrName>
                                        </p:attrNameLst>
                                      </p:cBhvr>
                                      <p:to>
                                        <p:strVal val="visible"/>
                                      </p:to>
                                    </p:set>
                                    <p:animEffect transition="in" filter="fade">
                                      <p:cBhvr>
                                        <p:cTn id="78" dur="500"/>
                                        <p:tgtEl>
                                          <p:spTgt spid="31"/>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4"/>
                                        </p:tgtEl>
                                        <p:attrNameLst>
                                          <p:attrName>style.visibility</p:attrName>
                                        </p:attrNameLst>
                                      </p:cBhvr>
                                      <p:to>
                                        <p:strVal val="visible"/>
                                      </p:to>
                                    </p:set>
                                    <p:animEffect transition="in" filter="fade">
                                      <p:cBhvr>
                                        <p:cTn id="83" dur="500"/>
                                        <p:tgtEl>
                                          <p:spTgt spid="34"/>
                                        </p:tgtEl>
                                      </p:cBhvr>
                                    </p:animEffect>
                                  </p:childTnLst>
                                </p:cTn>
                              </p:par>
                              <p:par>
                                <p:cTn id="84" presetID="10" presetClass="entr" presetSubtype="0" fill="hold" nodeType="with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fade">
                                      <p:cBhvr>
                                        <p:cTn id="86" dur="500"/>
                                        <p:tgtEl>
                                          <p:spTgt spid="28"/>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36"/>
                                        </p:tgtEl>
                                        <p:attrNameLst>
                                          <p:attrName>style.visibility</p:attrName>
                                        </p:attrNameLst>
                                      </p:cBhvr>
                                      <p:to>
                                        <p:strVal val="visible"/>
                                      </p:to>
                                    </p:set>
                                    <p:animEffect transition="in" filter="fade">
                                      <p:cBhvr>
                                        <p:cTn id="91" dur="500"/>
                                        <p:tgtEl>
                                          <p:spTgt spid="3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35"/>
                                        </p:tgtEl>
                                        <p:attrNameLst>
                                          <p:attrName>style.visibility</p:attrName>
                                        </p:attrNameLst>
                                      </p:cBhvr>
                                      <p:to>
                                        <p:strVal val="visible"/>
                                      </p:to>
                                    </p:set>
                                    <p:animEffect transition="in" filter="fade">
                                      <p:cBhvr>
                                        <p:cTn id="94" dur="500"/>
                                        <p:tgtEl>
                                          <p:spTgt spid="35"/>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2" nodeType="clickEffect">
                                  <p:stCondLst>
                                    <p:cond delay="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10" presetClass="entr" presetSubtype="0" fill="hold" grpId="2" nodeType="withEffect">
                                  <p:stCondLst>
                                    <p:cond delay="0"/>
                                  </p:stCondLst>
                                  <p:childTnLst>
                                    <p:set>
                                      <p:cBhvr>
                                        <p:cTn id="101" dur="1" fill="hold">
                                          <p:stCondLst>
                                            <p:cond delay="0"/>
                                          </p:stCondLst>
                                        </p:cTn>
                                        <p:tgtEl>
                                          <p:spTgt spid="21"/>
                                        </p:tgtEl>
                                        <p:attrNameLst>
                                          <p:attrName>style.visibility</p:attrName>
                                        </p:attrNameLst>
                                      </p:cBhvr>
                                      <p:to>
                                        <p:strVal val="visible"/>
                                      </p:to>
                                    </p:set>
                                    <p:animEffect transition="in" filter="fade">
                                      <p:cBhvr>
                                        <p:cTn id="102" dur="500"/>
                                        <p:tgtEl>
                                          <p:spTgt spid="21"/>
                                        </p:tgtEl>
                                      </p:cBhvr>
                                    </p:animEffect>
                                  </p:childTnLst>
                                </p:cTn>
                              </p:par>
                              <p:par>
                                <p:cTn id="103" presetID="10" presetClass="entr" presetSubtype="0" fill="hold" grpId="2" nodeType="withEffect">
                                  <p:stCondLst>
                                    <p:cond delay="0"/>
                                  </p:stCondLst>
                                  <p:childTnLst>
                                    <p:set>
                                      <p:cBhvr>
                                        <p:cTn id="104" dur="1" fill="hold">
                                          <p:stCondLst>
                                            <p:cond delay="0"/>
                                          </p:stCondLst>
                                        </p:cTn>
                                        <p:tgtEl>
                                          <p:spTgt spid="33"/>
                                        </p:tgtEl>
                                        <p:attrNameLst>
                                          <p:attrName>style.visibility</p:attrName>
                                        </p:attrNameLst>
                                      </p:cBhvr>
                                      <p:to>
                                        <p:strVal val="visible"/>
                                      </p:to>
                                    </p:set>
                                    <p:animEffect transition="in" filter="fade">
                                      <p:cBhvr>
                                        <p:cTn id="105" dur="500"/>
                                        <p:tgtEl>
                                          <p:spTgt spid="33"/>
                                        </p:tgtEl>
                                      </p:cBhvr>
                                    </p:animEffect>
                                  </p:childTnLst>
                                </p:cTn>
                              </p:par>
                              <p:par>
                                <p:cTn id="106" presetID="10" presetClass="entr" presetSubtype="0" fill="hold" grpId="2" nodeType="withEffect">
                                  <p:stCondLst>
                                    <p:cond delay="0"/>
                                  </p:stCondLst>
                                  <p:childTnLst>
                                    <p:set>
                                      <p:cBhvr>
                                        <p:cTn id="107" dur="1" fill="hold">
                                          <p:stCondLst>
                                            <p:cond delay="0"/>
                                          </p:stCondLst>
                                        </p:cTn>
                                        <p:tgtEl>
                                          <p:spTgt spid="24"/>
                                        </p:tgtEl>
                                        <p:attrNameLst>
                                          <p:attrName>style.visibility</p:attrName>
                                        </p:attrNameLst>
                                      </p:cBhvr>
                                      <p:to>
                                        <p:strVal val="visible"/>
                                      </p:to>
                                    </p:set>
                                    <p:animEffect transition="in" filter="fade">
                                      <p:cBhvr>
                                        <p:cTn id="108" dur="500"/>
                                        <p:tgtEl>
                                          <p:spTgt spid="24"/>
                                        </p:tgtEl>
                                      </p:cBhvr>
                                    </p:animEffect>
                                  </p:childTnLst>
                                </p:cTn>
                              </p:par>
                              <p:par>
                                <p:cTn id="109" presetID="10" presetClass="entr" presetSubtype="0" fill="hold" grpId="2" nodeType="with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animBg="1"/>
      <p:bldP spid="18" grpId="0" animBg="1"/>
      <p:bldP spid="19" grpId="0"/>
      <p:bldP spid="19" grpId="1"/>
      <p:bldP spid="19" grpId="2"/>
      <p:bldP spid="20" grpId="0" animBg="1"/>
      <p:bldP spid="21" grpId="0"/>
      <p:bldP spid="21" grpId="1"/>
      <p:bldP spid="21" grpId="2"/>
      <p:bldP spid="22" grpId="0" animBg="1"/>
      <p:bldP spid="23" grpId="0"/>
      <p:bldP spid="23" grpId="1"/>
      <p:bldP spid="23" grpId="2"/>
      <p:bldP spid="24" grpId="0"/>
      <p:bldP spid="24" grpId="1"/>
      <p:bldP spid="24" grpId="2"/>
      <p:bldP spid="31" grpId="0"/>
      <p:bldP spid="32" grpId="0" animBg="1"/>
      <p:bldP spid="33" grpId="0"/>
      <p:bldP spid="33" grpId="1"/>
      <p:bldP spid="33" grpId="2"/>
      <p:bldP spid="34"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17051-A2B8-9848-7788-947295F1A944}"/>
              </a:ext>
            </a:extLst>
          </p:cNvPr>
          <p:cNvSpPr>
            <a:spLocks noGrp="1"/>
          </p:cNvSpPr>
          <p:nvPr>
            <p:ph type="title"/>
          </p:nvPr>
        </p:nvSpPr>
        <p:spPr/>
        <p:txBody>
          <a:bodyPr/>
          <a:lstStyle/>
          <a:p>
            <a:r>
              <a:rPr lang="en-US" dirty="0"/>
              <a:t>Your Digital Goodie Bag</a:t>
            </a:r>
          </a:p>
        </p:txBody>
      </p:sp>
      <p:sp>
        <p:nvSpPr>
          <p:cNvPr id="5" name="TextBox 4">
            <a:extLst>
              <a:ext uri="{FF2B5EF4-FFF2-40B4-BE49-F238E27FC236}">
                <a16:creationId xmlns:a16="http://schemas.microsoft.com/office/drawing/2014/main" id="{ABA3A55B-1F99-70D0-3608-3B2F5CBE6E6F}"/>
              </a:ext>
            </a:extLst>
          </p:cNvPr>
          <p:cNvSpPr txBox="1"/>
          <p:nvPr/>
        </p:nvSpPr>
        <p:spPr>
          <a:xfrm>
            <a:off x="457200" y="2828835"/>
            <a:ext cx="2344057" cy="1200329"/>
          </a:xfrm>
          <a:prstGeom prst="rect">
            <a:avLst/>
          </a:prstGeom>
          <a:noFill/>
        </p:spPr>
        <p:txBody>
          <a:bodyPr wrap="square" lIns="0" rIns="0" rtlCol="0">
            <a:spAutoFit/>
          </a:bodyPr>
          <a:lstStyle/>
          <a:p>
            <a:pPr>
              <a:spcBef>
                <a:spcPts val="600"/>
              </a:spcBef>
            </a:pPr>
            <a:r>
              <a:rPr lang="en-US" sz="2400" b="1" dirty="0">
                <a:solidFill>
                  <a:srgbClr val="002856"/>
                </a:solidFill>
                <a:latin typeface="+mj-lt"/>
              </a:rPr>
              <a:t>Vendor Evaluation Matrix </a:t>
            </a:r>
          </a:p>
        </p:txBody>
      </p:sp>
      <p:pic>
        <p:nvPicPr>
          <p:cNvPr id="7" name="Picture 6" descr="A screenshot of a document&#10;&#10;Description automatically generated">
            <a:extLst>
              <a:ext uri="{FF2B5EF4-FFF2-40B4-BE49-F238E27FC236}">
                <a16:creationId xmlns:a16="http://schemas.microsoft.com/office/drawing/2014/main" id="{5AB84937-4B10-D252-D94F-FCE20F8DC31C}"/>
              </a:ext>
            </a:extLst>
          </p:cNvPr>
          <p:cNvPicPr>
            <a:picLocks noChangeAspect="1"/>
          </p:cNvPicPr>
          <p:nvPr/>
        </p:nvPicPr>
        <p:blipFill rotWithShape="1">
          <a:blip r:embed="rId3"/>
          <a:srcRect r="776"/>
          <a:stretch/>
        </p:blipFill>
        <p:spPr>
          <a:xfrm>
            <a:off x="3758157" y="1181924"/>
            <a:ext cx="7913143" cy="4884832"/>
          </a:xfrm>
          <a:prstGeom prst="rect">
            <a:avLst/>
          </a:prstGeom>
        </p:spPr>
      </p:pic>
      <p:sp>
        <p:nvSpPr>
          <p:cNvPr id="8" name="Rectangle 7">
            <a:extLst>
              <a:ext uri="{FF2B5EF4-FFF2-40B4-BE49-F238E27FC236}">
                <a16:creationId xmlns:a16="http://schemas.microsoft.com/office/drawing/2014/main" id="{8D9B3E1A-0164-95F7-732A-720F2B72AA4C}"/>
              </a:ext>
            </a:extLst>
          </p:cNvPr>
          <p:cNvSpPr/>
          <p:nvPr/>
        </p:nvSpPr>
        <p:spPr>
          <a:xfrm>
            <a:off x="3744686" y="1132114"/>
            <a:ext cx="7988527" cy="4934857"/>
          </a:xfrm>
          <a:prstGeom prst="rect">
            <a:avLst/>
          </a:prstGeom>
          <a:noFill/>
          <a:ln w="28575">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15757506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5A34D3-9051-8E69-08A5-50753CB7F1F2}"/>
              </a:ext>
            </a:extLst>
          </p:cNvPr>
          <p:cNvSpPr/>
          <p:nvPr/>
        </p:nvSpPr>
        <p:spPr>
          <a:xfrm>
            <a:off x="6095205" y="1427707"/>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sed on ambition and oversight</a:t>
            </a:r>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dirty="0">
                <a:solidFill>
                  <a:srgbClr val="BDBDBD"/>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dirty="0">
                <a:solidFill>
                  <a:srgbClr val="BDBDBD"/>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69517"/>
            <a:ext cx="3524672" cy="369332"/>
          </a:xfrm>
          <a:prstGeom prst="rect">
            <a:avLst/>
          </a:prstGeom>
          <a:noFill/>
        </p:spPr>
        <p:txBody>
          <a:bodyPr wrap="square">
            <a:spAutoFit/>
          </a:bodyPr>
          <a:lstStyle/>
          <a:p>
            <a:pPr>
              <a:spcAft>
                <a:spcPts val="600"/>
              </a:spcAft>
            </a:pPr>
            <a:r>
              <a:rPr lang="en-US" dirty="0">
                <a:solidFill>
                  <a:srgbClr val="BDBDBD"/>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dirty="0">
                <a:solidFill>
                  <a:srgbClr val="002856"/>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sz="1800" dirty="0">
                <a:solidFill>
                  <a:srgbClr val="BDBDBD"/>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BDBDBD"/>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1</a:t>
            </a:r>
            <a:endParaRPr sz="3200" b="1" dirty="0">
              <a:latin typeface="+mj-lt"/>
            </a:endParaRPr>
          </a:p>
        </p:txBody>
      </p:sp>
      <p:sp>
        <p:nvSpPr>
          <p:cNvPr id="16" name="Isosceles Triangle 15">
            <a:extLst>
              <a:ext uri="{FF2B5EF4-FFF2-40B4-BE49-F238E27FC236}">
                <a16:creationId xmlns:a16="http://schemas.microsoft.com/office/drawing/2014/main" id="{C7256DB8-C869-1E30-DDC3-A11AB967E14E}"/>
              </a:ext>
            </a:extLst>
          </p:cNvPr>
          <p:cNvSpPr/>
          <p:nvPr/>
        </p:nvSpPr>
        <p:spPr>
          <a:xfrm rot="5400000">
            <a:off x="5987476" y="1544901"/>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2</a:t>
            </a:r>
            <a:endParaRPr sz="3200" b="1" dirty="0">
              <a:solidFill>
                <a:srgbClr val="FFFFFF"/>
              </a:solidFill>
              <a:latin typeface="+mj-lt"/>
            </a:endParaRPr>
          </a:p>
        </p:txBody>
      </p:sp>
      <p:sp>
        <p:nvSpPr>
          <p:cNvPr id="13" name="Rectangle 12">
            <a:extLst>
              <a:ext uri="{FF2B5EF4-FFF2-40B4-BE49-F238E27FC236}">
                <a16:creationId xmlns:a16="http://schemas.microsoft.com/office/drawing/2014/main" id="{60F11323-D9C8-6A75-8F3E-2E32D6733B89}"/>
              </a:ext>
            </a:extLst>
          </p:cNvPr>
          <p:cNvSpPr/>
          <p:nvPr/>
        </p:nvSpPr>
        <p:spPr>
          <a:xfrm>
            <a:off x="6095205" y="2204635"/>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ioritize peer and supplier inputs</a:t>
            </a:r>
          </a:p>
        </p:txBody>
      </p:sp>
      <p:sp>
        <p:nvSpPr>
          <p:cNvPr id="20" name="Isosceles Triangle 19">
            <a:extLst>
              <a:ext uri="{FF2B5EF4-FFF2-40B4-BE49-F238E27FC236}">
                <a16:creationId xmlns:a16="http://schemas.microsoft.com/office/drawing/2014/main" id="{17D2973B-F740-29BF-4F0C-A9CE5CE0AEAE}"/>
              </a:ext>
            </a:extLst>
          </p:cNvPr>
          <p:cNvSpPr/>
          <p:nvPr/>
        </p:nvSpPr>
        <p:spPr>
          <a:xfrm rot="5400000">
            <a:off x="5987476" y="2321829"/>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Circle">
            <a:extLst>
              <a:ext uri="{FF2B5EF4-FFF2-40B4-BE49-F238E27FC236}">
                <a16:creationId xmlns:a16="http://schemas.microsoft.com/office/drawing/2014/main" id="{B3EB49D2-A1DC-305B-4744-29B755986195}"/>
              </a:ext>
            </a:extLst>
          </p:cNvPr>
          <p:cNvSpPr/>
          <p:nvPr/>
        </p:nvSpPr>
        <p:spPr>
          <a:xfrm>
            <a:off x="735044" y="2981099"/>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3</a:t>
            </a:r>
            <a:endParaRPr sz="3200" b="1" dirty="0">
              <a:solidFill>
                <a:srgbClr val="FFFFFF"/>
              </a:solidFill>
              <a:latin typeface="+mj-lt"/>
            </a:endParaRPr>
          </a:p>
        </p:txBody>
      </p:sp>
      <p:sp>
        <p:nvSpPr>
          <p:cNvPr id="25" name="Circle">
            <a:extLst>
              <a:ext uri="{FF2B5EF4-FFF2-40B4-BE49-F238E27FC236}">
                <a16:creationId xmlns:a16="http://schemas.microsoft.com/office/drawing/2014/main" id="{5E0A185D-D504-BC8D-9556-D2BE9AB89857}"/>
              </a:ext>
            </a:extLst>
          </p:cNvPr>
          <p:cNvSpPr/>
          <p:nvPr/>
        </p:nvSpPr>
        <p:spPr>
          <a:xfrm>
            <a:off x="751038" y="3752665"/>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4</a:t>
            </a:r>
            <a:endParaRPr sz="3200" b="1" dirty="0">
              <a:solidFill>
                <a:srgbClr val="FFFFFF"/>
              </a:solidFill>
              <a:latin typeface="+mj-lt"/>
            </a:endParaRPr>
          </a:p>
        </p:txBody>
      </p:sp>
      <p:sp>
        <p:nvSpPr>
          <p:cNvPr id="28" name="Rectangle 27">
            <a:extLst>
              <a:ext uri="{FF2B5EF4-FFF2-40B4-BE49-F238E27FC236}">
                <a16:creationId xmlns:a16="http://schemas.microsoft.com/office/drawing/2014/main" id="{B5817132-6959-3927-EEC6-93E70D5DB1D9}"/>
              </a:ext>
            </a:extLst>
          </p:cNvPr>
          <p:cNvSpPr/>
          <p:nvPr/>
        </p:nvSpPr>
        <p:spPr>
          <a:xfrm>
            <a:off x="1549735" y="2981099"/>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Rectangle 28">
            <a:extLst>
              <a:ext uri="{FF2B5EF4-FFF2-40B4-BE49-F238E27FC236}">
                <a16:creationId xmlns:a16="http://schemas.microsoft.com/office/drawing/2014/main" id="{62B0BA63-F058-B536-6886-0B962D5121D2}"/>
              </a:ext>
            </a:extLst>
          </p:cNvPr>
          <p:cNvSpPr/>
          <p:nvPr/>
        </p:nvSpPr>
        <p:spPr>
          <a:xfrm>
            <a:off x="6102133" y="2981260"/>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Focus on HOW</a:t>
            </a:r>
          </a:p>
        </p:txBody>
      </p:sp>
      <p:sp>
        <p:nvSpPr>
          <p:cNvPr id="30" name="Isosceles Triangle 29">
            <a:extLst>
              <a:ext uri="{FF2B5EF4-FFF2-40B4-BE49-F238E27FC236}">
                <a16:creationId xmlns:a16="http://schemas.microsoft.com/office/drawing/2014/main" id="{2720027E-25F6-EFB8-D68A-1C0A8CE1750A}"/>
              </a:ext>
            </a:extLst>
          </p:cNvPr>
          <p:cNvSpPr/>
          <p:nvPr/>
        </p:nvSpPr>
        <p:spPr>
          <a:xfrm rot="5400000">
            <a:off x="5994404" y="3098454"/>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93E3A37A-F7FA-BCDD-7601-016E4BA34A65}"/>
              </a:ext>
            </a:extLst>
          </p:cNvPr>
          <p:cNvSpPr/>
          <p:nvPr/>
        </p:nvSpPr>
        <p:spPr>
          <a:xfrm>
            <a:off x="1549735" y="3762003"/>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7FE31539-4B0F-8DDF-88E8-1E4C4F80DCC8}"/>
              </a:ext>
            </a:extLst>
          </p:cNvPr>
          <p:cNvSpPr/>
          <p:nvPr/>
        </p:nvSpPr>
        <p:spPr>
          <a:xfrm>
            <a:off x="1549735" y="4589677"/>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Rectangle 33">
            <a:extLst>
              <a:ext uri="{FF2B5EF4-FFF2-40B4-BE49-F238E27FC236}">
                <a16:creationId xmlns:a16="http://schemas.microsoft.com/office/drawing/2014/main" id="{81C5A833-F3AA-3370-9552-539B036A2D28}"/>
              </a:ext>
            </a:extLst>
          </p:cNvPr>
          <p:cNvSpPr/>
          <p:nvPr/>
        </p:nvSpPr>
        <p:spPr>
          <a:xfrm>
            <a:off x="6102133" y="3762003"/>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ke control, don’t accept canned demos</a:t>
            </a:r>
          </a:p>
        </p:txBody>
      </p:sp>
      <p:sp>
        <p:nvSpPr>
          <p:cNvPr id="35" name="Isosceles Triangle 34">
            <a:extLst>
              <a:ext uri="{FF2B5EF4-FFF2-40B4-BE49-F238E27FC236}">
                <a16:creationId xmlns:a16="http://schemas.microsoft.com/office/drawing/2014/main" id="{B4F566D5-BD9B-791D-4948-388654CC3AAA}"/>
              </a:ext>
            </a:extLst>
          </p:cNvPr>
          <p:cNvSpPr/>
          <p:nvPr/>
        </p:nvSpPr>
        <p:spPr>
          <a:xfrm rot="5400000">
            <a:off x="5994404" y="3879197"/>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Circle">
            <a:extLst>
              <a:ext uri="{FF2B5EF4-FFF2-40B4-BE49-F238E27FC236}">
                <a16:creationId xmlns:a16="http://schemas.microsoft.com/office/drawing/2014/main" id="{20548036-1065-0D36-3775-DF05F506D9BD}"/>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7" name="Circle">
            <a:extLst>
              <a:ext uri="{FF2B5EF4-FFF2-40B4-BE49-F238E27FC236}">
                <a16:creationId xmlns:a16="http://schemas.microsoft.com/office/drawing/2014/main" id="{0AAF0709-8A62-921A-7C30-C0E915D444B9}"/>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8" name="Circle">
            <a:extLst>
              <a:ext uri="{FF2B5EF4-FFF2-40B4-BE49-F238E27FC236}">
                <a16:creationId xmlns:a16="http://schemas.microsoft.com/office/drawing/2014/main" id="{5E1B6AE4-A2CD-FACF-CA86-E37B40B2E741}"/>
              </a:ext>
            </a:extLst>
          </p:cNvPr>
          <p:cNvSpPr/>
          <p:nvPr/>
        </p:nvSpPr>
        <p:spPr>
          <a:xfrm>
            <a:off x="740380" y="4589677"/>
            <a:ext cx="603036" cy="603036"/>
          </a:xfrm>
          <a:prstGeom prst="ellipse">
            <a:avLst/>
          </a:prstGeom>
          <a:solidFill>
            <a:srgbClr val="002856"/>
          </a:solidFill>
          <a:ln w="12700">
            <a:miter lim="400000"/>
          </a:ln>
        </p:spPr>
        <p:txBody>
          <a:bodyPr lIns="0" tIns="0" rIns="0" bIns="0" anchor="ctr"/>
          <a:lstStyle/>
          <a:p>
            <a:pPr algn="ctr"/>
            <a:r>
              <a:rPr lang="en-US" sz="3200" b="1" dirty="0">
                <a:solidFill>
                  <a:srgbClr val="FFFFFF"/>
                </a:solidFill>
                <a:latin typeface="+mj-lt"/>
              </a:rPr>
              <a:t>5</a:t>
            </a:r>
            <a:endParaRPr sz="3200" b="1" dirty="0">
              <a:solidFill>
                <a:srgbClr val="FFFFFF"/>
              </a:solidFill>
              <a:latin typeface="+mj-lt"/>
            </a:endParaRPr>
          </a:p>
        </p:txBody>
      </p:sp>
      <p:sp>
        <p:nvSpPr>
          <p:cNvPr id="8" name="TextBox 7">
            <a:extLst>
              <a:ext uri="{FF2B5EF4-FFF2-40B4-BE49-F238E27FC236}">
                <a16:creationId xmlns:a16="http://schemas.microsoft.com/office/drawing/2014/main" id="{57DF2F03-DF06-7982-6CB0-1EBA6A0AC097}"/>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rgbClr val="BDBDBD"/>
                </a:solidFill>
                <a:latin typeface="+mj-lt"/>
              </a:rPr>
              <a:t>Define Outcomes and Capabilities</a:t>
            </a:r>
          </a:p>
        </p:txBody>
      </p:sp>
    </p:spTree>
    <p:extLst>
      <p:ext uri="{BB962C8B-B14F-4D97-AF65-F5344CB8AC3E}">
        <p14:creationId xmlns:p14="http://schemas.microsoft.com/office/powerpoint/2010/main" val="21584148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71C096-6945-41FE-86F4-900C93BD3D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A271C096-6945-41FE-86F4-900C93BD3D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CE934F9-B43A-499D-9629-0B80312E887F}"/>
              </a:ext>
            </a:extLst>
          </p:cNvPr>
          <p:cNvSpPr>
            <a:spLocks noGrp="1"/>
          </p:cNvSpPr>
          <p:nvPr>
            <p:ph type="title"/>
          </p:nvPr>
        </p:nvSpPr>
        <p:spPr bwMode="gray"/>
        <p:txBody>
          <a:bodyPr/>
          <a:lstStyle/>
          <a:p>
            <a:r>
              <a:rPr lang="en-GB" dirty="0"/>
              <a:t>Beyond Tool Features: Key Elements to Assess</a:t>
            </a:r>
          </a:p>
        </p:txBody>
      </p:sp>
      <p:sp>
        <p:nvSpPr>
          <p:cNvPr id="6" name="Rectangle 5">
            <a:extLst>
              <a:ext uri="{FF2B5EF4-FFF2-40B4-BE49-F238E27FC236}">
                <a16:creationId xmlns:a16="http://schemas.microsoft.com/office/drawing/2014/main" id="{92CF5C5E-59E3-4CC5-B2E4-86471BE9A711}"/>
              </a:ext>
            </a:extLst>
          </p:cNvPr>
          <p:cNvSpPr/>
          <p:nvPr/>
        </p:nvSpPr>
        <p:spPr bwMode="gray">
          <a:xfrm>
            <a:off x="6719167" y="2604015"/>
            <a:ext cx="5014045" cy="1853592"/>
          </a:xfrm>
          <a:prstGeom prst="rect">
            <a:avLst/>
          </a:prstGeom>
          <a:solidFill>
            <a:srgbClr val="6A80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0" tIns="137160" rIns="274320" bIns="45720" numCol="1" spcCol="0" rtlCol="0" fromWordArt="0" anchor="t" anchorCtr="0" forceAA="0" compatLnSpc="1">
            <a:prstTxWarp prst="textNoShape">
              <a:avLst/>
            </a:prstTxWarp>
            <a:noAutofit/>
          </a:bodyPr>
          <a:lstStyle/>
          <a:p>
            <a:pPr lvl="0">
              <a:spcAft>
                <a:spcPts val="600"/>
              </a:spcAft>
            </a:pPr>
            <a:r>
              <a:rPr lang="en-US" b="1" noProof="1">
                <a:solidFill>
                  <a:srgbClr val="FFFFFF"/>
                </a:solidFill>
                <a:latin typeface="Arial Black"/>
              </a:rPr>
              <a:t>Company Profile</a:t>
            </a:r>
          </a:p>
          <a:p>
            <a:pPr marL="285750" lvl="0" indent="-285750">
              <a:buFont typeface="Arial" panose="020B0604020202020204" pitchFamily="34" charset="0"/>
              <a:buChar char="•"/>
            </a:pPr>
            <a:r>
              <a:rPr lang="en-US" sz="1500" noProof="1">
                <a:solidFill>
                  <a:srgbClr val="FFFFFF"/>
                </a:solidFill>
              </a:rPr>
              <a:t>Financial Health</a:t>
            </a:r>
          </a:p>
          <a:p>
            <a:pPr marL="285750" lvl="0" indent="-285750">
              <a:buFont typeface="Arial" panose="020B0604020202020204" pitchFamily="34" charset="0"/>
              <a:buChar char="•"/>
            </a:pPr>
            <a:r>
              <a:rPr lang="en-US" sz="1500" noProof="1">
                <a:solidFill>
                  <a:srgbClr val="FFFFFF"/>
                </a:solidFill>
              </a:rPr>
              <a:t>Executive leadership background</a:t>
            </a:r>
          </a:p>
          <a:p>
            <a:pPr marL="285750" lvl="0" indent="-285750">
              <a:buFont typeface="Arial" panose="020B0604020202020204" pitchFamily="34" charset="0"/>
              <a:buChar char="•"/>
            </a:pPr>
            <a:r>
              <a:rPr lang="en-US" sz="1500" noProof="1">
                <a:solidFill>
                  <a:srgbClr val="FFFFFF"/>
                </a:solidFill>
              </a:rPr>
              <a:t>Industry focus and customer base</a:t>
            </a:r>
          </a:p>
          <a:p>
            <a:pPr marL="285750" lvl="0" indent="-285750">
              <a:buFont typeface="Arial" panose="020B0604020202020204" pitchFamily="34" charset="0"/>
              <a:buChar char="•"/>
            </a:pPr>
            <a:r>
              <a:rPr lang="en-US" sz="1500" noProof="1">
                <a:solidFill>
                  <a:srgbClr val="FFFFFF"/>
                </a:solidFill>
              </a:rPr>
              <a:t>Years in the market</a:t>
            </a:r>
          </a:p>
          <a:p>
            <a:pPr marL="285750" lvl="0" indent="-285750">
              <a:buFont typeface="Arial" panose="020B0604020202020204" pitchFamily="34" charset="0"/>
              <a:buChar char="•"/>
            </a:pPr>
            <a:r>
              <a:rPr lang="en-US" sz="1500" noProof="1">
                <a:solidFill>
                  <a:srgbClr val="FFFFFF"/>
                </a:solidFill>
              </a:rPr>
              <a:t>Product strategy and roadmap</a:t>
            </a:r>
          </a:p>
        </p:txBody>
      </p:sp>
      <p:sp>
        <p:nvSpPr>
          <p:cNvPr id="7" name="Rectangle 6">
            <a:extLst>
              <a:ext uri="{FF2B5EF4-FFF2-40B4-BE49-F238E27FC236}">
                <a16:creationId xmlns:a16="http://schemas.microsoft.com/office/drawing/2014/main" id="{ED2148E5-2FAE-4DFE-91E3-15731FE5CA6D}"/>
              </a:ext>
            </a:extLst>
          </p:cNvPr>
          <p:cNvSpPr/>
          <p:nvPr/>
        </p:nvSpPr>
        <p:spPr bwMode="gray">
          <a:xfrm>
            <a:off x="457200" y="2604015"/>
            <a:ext cx="5067686" cy="18535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37160" rIns="1005840" bIns="45720" numCol="1" spcCol="0" rtlCol="0" fromWordArt="0" anchor="t" anchorCtr="0" forceAA="0" compatLnSpc="1">
            <a:prstTxWarp prst="textNoShape">
              <a:avLst/>
            </a:prstTxWarp>
            <a:noAutofit/>
          </a:bodyPr>
          <a:lstStyle/>
          <a:p>
            <a:pPr lvl="0">
              <a:spcAft>
                <a:spcPts val="600"/>
              </a:spcAft>
            </a:pPr>
            <a:r>
              <a:rPr lang="en-US" b="1" noProof="1">
                <a:solidFill>
                  <a:srgbClr val="FFFFFF"/>
                </a:solidFill>
                <a:latin typeface="Arial Black"/>
              </a:rPr>
              <a:t>Digital Solution</a:t>
            </a:r>
            <a:endParaRPr lang="en-US" sz="1600" b="1" noProof="1">
              <a:solidFill>
                <a:srgbClr val="FFFFFF"/>
              </a:solidFill>
              <a:latin typeface="Arial Black"/>
            </a:endParaRPr>
          </a:p>
          <a:p>
            <a:pPr marL="285750" lvl="0" indent="-285750">
              <a:buFont typeface="Arial" panose="020B0604020202020204" pitchFamily="34" charset="0"/>
              <a:buChar char="•"/>
            </a:pPr>
            <a:r>
              <a:rPr lang="en-US" sz="1500" noProof="1">
                <a:solidFill>
                  <a:srgbClr val="FFFFFF"/>
                </a:solidFill>
              </a:rPr>
              <a:t>Functional capabilities</a:t>
            </a:r>
          </a:p>
          <a:p>
            <a:pPr marL="285750" lvl="0" indent="-285750">
              <a:buFont typeface="Arial" panose="020B0604020202020204" pitchFamily="34" charset="0"/>
              <a:buChar char="•"/>
            </a:pPr>
            <a:r>
              <a:rPr lang="en-US" sz="1500" noProof="1">
                <a:solidFill>
                  <a:srgbClr val="FFFFFF"/>
                </a:solidFill>
              </a:rPr>
              <a:t>Technical requirements</a:t>
            </a:r>
          </a:p>
          <a:p>
            <a:pPr marL="285750" lvl="0" indent="-285750">
              <a:buFont typeface="Arial" panose="020B0604020202020204" pitchFamily="34" charset="0"/>
              <a:buChar char="•"/>
            </a:pPr>
            <a:r>
              <a:rPr lang="en-US" sz="1500" noProof="1">
                <a:solidFill>
                  <a:srgbClr val="FFFFFF"/>
                </a:solidFill>
              </a:rPr>
              <a:t>Program support</a:t>
            </a:r>
          </a:p>
          <a:p>
            <a:pPr marL="285750" lvl="0" indent="-285750">
              <a:buFont typeface="Arial" panose="020B0604020202020204" pitchFamily="34" charset="0"/>
              <a:buChar char="•"/>
            </a:pPr>
            <a:r>
              <a:rPr lang="en-US" sz="1500" noProof="1">
                <a:solidFill>
                  <a:srgbClr val="FFFFFF"/>
                </a:solidFill>
              </a:rPr>
              <a:t>Suppliers currently in network </a:t>
            </a:r>
          </a:p>
          <a:p>
            <a:pPr marL="285750" lvl="0" indent="-285750">
              <a:buFont typeface="Arial" panose="020B0604020202020204" pitchFamily="34" charset="0"/>
              <a:buChar char="•"/>
            </a:pPr>
            <a:r>
              <a:rPr lang="en-US" sz="1500" noProof="1">
                <a:solidFill>
                  <a:srgbClr val="FFFFFF"/>
                </a:solidFill>
              </a:rPr>
              <a:t>Supplier experience and adoption</a:t>
            </a:r>
          </a:p>
        </p:txBody>
      </p:sp>
      <p:sp>
        <p:nvSpPr>
          <p:cNvPr id="8" name="Oval 7">
            <a:extLst>
              <a:ext uri="{FF2B5EF4-FFF2-40B4-BE49-F238E27FC236}">
                <a16:creationId xmlns:a16="http://schemas.microsoft.com/office/drawing/2014/main" id="{1E1D0B53-9A8E-460B-8CDB-F1803712671D}"/>
              </a:ext>
            </a:extLst>
          </p:cNvPr>
          <p:cNvSpPr/>
          <p:nvPr/>
        </p:nvSpPr>
        <p:spPr bwMode="gray">
          <a:xfrm>
            <a:off x="5078342" y="2474638"/>
            <a:ext cx="2079487" cy="20794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600" err="1">
              <a:solidFill>
                <a:schemeClr val="tx1"/>
              </a:solidFill>
            </a:endParaRPr>
          </a:p>
        </p:txBody>
      </p:sp>
      <p:sp>
        <p:nvSpPr>
          <p:cNvPr id="10" name="Rectangle 9">
            <a:extLst>
              <a:ext uri="{FF2B5EF4-FFF2-40B4-BE49-F238E27FC236}">
                <a16:creationId xmlns:a16="http://schemas.microsoft.com/office/drawing/2014/main" id="{6365AF24-D0D3-452A-A6A0-D8DF9B795A12}"/>
              </a:ext>
            </a:extLst>
          </p:cNvPr>
          <p:cNvSpPr/>
          <p:nvPr/>
        </p:nvSpPr>
        <p:spPr bwMode="gray">
          <a:xfrm>
            <a:off x="5195194" y="2821062"/>
            <a:ext cx="1861348" cy="707886"/>
          </a:xfrm>
          <a:prstGeom prst="rect">
            <a:avLst/>
          </a:prstGeom>
        </p:spPr>
        <p:txBody>
          <a:bodyPr wrap="square">
            <a:spAutoFit/>
          </a:bodyPr>
          <a:lstStyle/>
          <a:p>
            <a:pPr algn="ctr">
              <a:spcAft>
                <a:spcPts val="600"/>
              </a:spcAft>
            </a:pPr>
            <a:r>
              <a:rPr lang="en-US" sz="2000" b="1" noProof="1">
                <a:solidFill>
                  <a:schemeClr val="tx2"/>
                </a:solidFill>
                <a:latin typeface="+mj-lt"/>
              </a:rPr>
              <a:t>Vendor Evaluation</a:t>
            </a:r>
          </a:p>
        </p:txBody>
      </p:sp>
      <p:pic>
        <p:nvPicPr>
          <p:cNvPr id="11" name="Graphic 10">
            <a:extLst>
              <a:ext uri="{FF2B5EF4-FFF2-40B4-BE49-F238E27FC236}">
                <a16:creationId xmlns:a16="http://schemas.microsoft.com/office/drawing/2014/main" id="{B71670DE-7A8E-4714-AD18-7D30AC6BD8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gray">
          <a:xfrm>
            <a:off x="4781700" y="2184780"/>
            <a:ext cx="2688336" cy="2688336"/>
          </a:xfrm>
          <a:prstGeom prst="rect">
            <a:avLst/>
          </a:prstGeom>
        </p:spPr>
      </p:pic>
      <p:sp>
        <p:nvSpPr>
          <p:cNvPr id="13" name="Freeform: Shape 12">
            <a:extLst>
              <a:ext uri="{FF2B5EF4-FFF2-40B4-BE49-F238E27FC236}">
                <a16:creationId xmlns:a16="http://schemas.microsoft.com/office/drawing/2014/main" id="{7F108CC2-72EF-4C9D-D8A4-8C6BC6929561}"/>
              </a:ext>
            </a:extLst>
          </p:cNvPr>
          <p:cNvSpPr>
            <a:spLocks noChangeAspect="1"/>
          </p:cNvSpPr>
          <p:nvPr/>
        </p:nvSpPr>
        <p:spPr bwMode="gray">
          <a:xfrm>
            <a:off x="5788285" y="3686420"/>
            <a:ext cx="570647" cy="613715"/>
          </a:xfrm>
          <a:custGeom>
            <a:avLst/>
            <a:gdLst>
              <a:gd name="connsiteX0" fmla="*/ 388144 w 504825"/>
              <a:gd name="connsiteY0" fmla="*/ 130969 h 542925"/>
              <a:gd name="connsiteX1" fmla="*/ 197644 w 504825"/>
              <a:gd name="connsiteY1" fmla="*/ 130969 h 542925"/>
              <a:gd name="connsiteX2" fmla="*/ 197644 w 504825"/>
              <a:gd name="connsiteY2" fmla="*/ 92869 h 542925"/>
              <a:gd name="connsiteX3" fmla="*/ 388144 w 504825"/>
              <a:gd name="connsiteY3" fmla="*/ 92869 h 542925"/>
              <a:gd name="connsiteX4" fmla="*/ 388144 w 504825"/>
              <a:gd name="connsiteY4" fmla="*/ 130969 h 542925"/>
              <a:gd name="connsiteX5" fmla="*/ 426244 w 504825"/>
              <a:gd name="connsiteY5" fmla="*/ 159544 h 542925"/>
              <a:gd name="connsiteX6" fmla="*/ 197644 w 504825"/>
              <a:gd name="connsiteY6" fmla="*/ 159544 h 542925"/>
              <a:gd name="connsiteX7" fmla="*/ 197644 w 504825"/>
              <a:gd name="connsiteY7" fmla="*/ 197644 h 542925"/>
              <a:gd name="connsiteX8" fmla="*/ 426244 w 504825"/>
              <a:gd name="connsiteY8" fmla="*/ 197644 h 542925"/>
              <a:gd name="connsiteX9" fmla="*/ 426244 w 504825"/>
              <a:gd name="connsiteY9" fmla="*/ 159544 h 542925"/>
              <a:gd name="connsiteX10" fmla="*/ 502444 w 504825"/>
              <a:gd name="connsiteY10" fmla="*/ 7144 h 542925"/>
              <a:gd name="connsiteX11" fmla="*/ 502444 w 504825"/>
              <a:gd name="connsiteY11" fmla="*/ 364331 h 542925"/>
              <a:gd name="connsiteX12" fmla="*/ 383381 w 504825"/>
              <a:gd name="connsiteY12" fmla="*/ 483394 h 542925"/>
              <a:gd name="connsiteX13" fmla="*/ 249841 w 504825"/>
              <a:gd name="connsiteY13" fmla="*/ 483394 h 542925"/>
              <a:gd name="connsiteX14" fmla="*/ 140494 w 504825"/>
              <a:gd name="connsiteY14" fmla="*/ 540544 h 542925"/>
              <a:gd name="connsiteX15" fmla="*/ 7144 w 504825"/>
              <a:gd name="connsiteY15" fmla="*/ 407194 h 542925"/>
              <a:gd name="connsiteX16" fmla="*/ 121444 w 504825"/>
              <a:gd name="connsiteY16" fmla="*/ 275368 h 542925"/>
              <a:gd name="connsiteX17" fmla="*/ 121444 w 504825"/>
              <a:gd name="connsiteY17" fmla="*/ 7144 h 542925"/>
              <a:gd name="connsiteX18" fmla="*/ 502444 w 504825"/>
              <a:gd name="connsiteY18" fmla="*/ 7144 h 542925"/>
              <a:gd name="connsiteX19" fmla="*/ 197358 w 504825"/>
              <a:gd name="connsiteY19" fmla="*/ 483394 h 542925"/>
              <a:gd name="connsiteX20" fmla="*/ 227648 w 504825"/>
              <a:gd name="connsiteY20" fmla="*/ 445294 h 542925"/>
              <a:gd name="connsiteX21" fmla="*/ 235649 w 504825"/>
              <a:gd name="connsiteY21" fmla="*/ 407194 h 542925"/>
              <a:gd name="connsiteX22" fmla="*/ 159449 w 504825"/>
              <a:gd name="connsiteY22" fmla="*/ 313849 h 542925"/>
              <a:gd name="connsiteX23" fmla="*/ 140399 w 504825"/>
              <a:gd name="connsiteY23" fmla="*/ 311944 h 542925"/>
              <a:gd name="connsiteX24" fmla="*/ 121349 w 504825"/>
              <a:gd name="connsiteY24" fmla="*/ 313849 h 542925"/>
              <a:gd name="connsiteX25" fmla="*/ 45149 w 504825"/>
              <a:gd name="connsiteY25" fmla="*/ 407194 h 542925"/>
              <a:gd name="connsiteX26" fmla="*/ 140399 w 504825"/>
              <a:gd name="connsiteY26" fmla="*/ 502444 h 542925"/>
              <a:gd name="connsiteX27" fmla="*/ 197358 w 504825"/>
              <a:gd name="connsiteY27" fmla="*/ 483394 h 542925"/>
              <a:gd name="connsiteX28" fmla="*/ 273844 w 504825"/>
              <a:gd name="connsiteY28" fmla="*/ 407194 h 542925"/>
              <a:gd name="connsiteX29" fmla="*/ 268224 w 504825"/>
              <a:gd name="connsiteY29" fmla="*/ 445294 h 542925"/>
              <a:gd name="connsiteX30" fmla="*/ 340519 w 504825"/>
              <a:gd name="connsiteY30" fmla="*/ 445294 h 542925"/>
              <a:gd name="connsiteX31" fmla="*/ 340519 w 504825"/>
              <a:gd name="connsiteY31" fmla="*/ 321469 h 542925"/>
              <a:gd name="connsiteX32" fmla="*/ 464344 w 504825"/>
              <a:gd name="connsiteY32" fmla="*/ 321469 h 542925"/>
              <a:gd name="connsiteX33" fmla="*/ 464344 w 504825"/>
              <a:gd name="connsiteY33" fmla="*/ 45244 h 542925"/>
              <a:gd name="connsiteX34" fmla="*/ 159544 w 504825"/>
              <a:gd name="connsiteY34" fmla="*/ 45244 h 542925"/>
              <a:gd name="connsiteX35" fmla="*/ 159544 w 504825"/>
              <a:gd name="connsiteY35" fmla="*/ 275368 h 542925"/>
              <a:gd name="connsiteX36" fmla="*/ 273844 w 504825"/>
              <a:gd name="connsiteY36" fmla="*/ 407194 h 542925"/>
              <a:gd name="connsiteX37" fmla="*/ 453295 w 504825"/>
              <a:gd name="connsiteY37" fmla="*/ 359569 h 542925"/>
              <a:gd name="connsiteX38" fmla="*/ 378619 w 504825"/>
              <a:gd name="connsiteY38" fmla="*/ 359569 h 542925"/>
              <a:gd name="connsiteX39" fmla="*/ 378619 w 504825"/>
              <a:gd name="connsiteY39" fmla="*/ 434245 h 542925"/>
              <a:gd name="connsiteX40" fmla="*/ 453295 w 504825"/>
              <a:gd name="connsiteY40" fmla="*/ 359569 h 542925"/>
              <a:gd name="connsiteX41" fmla="*/ 159544 w 504825"/>
              <a:gd name="connsiteY41" fmla="*/ 370618 h 542925"/>
              <a:gd name="connsiteX42" fmla="*/ 123634 w 504825"/>
              <a:gd name="connsiteY42" fmla="*/ 413385 h 542925"/>
              <a:gd name="connsiteX43" fmla="*/ 121444 w 504825"/>
              <a:gd name="connsiteY43" fmla="*/ 411575 h 542925"/>
              <a:gd name="connsiteX44" fmla="*/ 92583 w 504825"/>
              <a:gd name="connsiteY44" fmla="*/ 387382 h 542925"/>
              <a:gd name="connsiteX45" fmla="*/ 68104 w 504825"/>
              <a:gd name="connsiteY45" fmla="*/ 416528 h 542925"/>
              <a:gd name="connsiteX46" fmla="*/ 121444 w 504825"/>
              <a:gd name="connsiteY46" fmla="*/ 461296 h 542925"/>
              <a:gd name="connsiteX47" fmla="*/ 128397 w 504825"/>
              <a:gd name="connsiteY47" fmla="*/ 467106 h 542925"/>
              <a:gd name="connsiteX48" fmla="*/ 159544 w 504825"/>
              <a:gd name="connsiteY48" fmla="*/ 429959 h 542925"/>
              <a:gd name="connsiteX49" fmla="*/ 204883 w 504825"/>
              <a:gd name="connsiteY49" fmla="*/ 375857 h 542925"/>
              <a:gd name="connsiteX50" fmla="*/ 175736 w 504825"/>
              <a:gd name="connsiteY50" fmla="*/ 351377 h 542925"/>
              <a:gd name="connsiteX51" fmla="*/ 159544 w 504825"/>
              <a:gd name="connsiteY51" fmla="*/ 370618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04825" h="542925">
                <a:moveTo>
                  <a:pt x="388144" y="130969"/>
                </a:moveTo>
                <a:lnTo>
                  <a:pt x="197644" y="130969"/>
                </a:lnTo>
                <a:lnTo>
                  <a:pt x="197644" y="92869"/>
                </a:lnTo>
                <a:lnTo>
                  <a:pt x="388144" y="92869"/>
                </a:lnTo>
                <a:lnTo>
                  <a:pt x="388144" y="130969"/>
                </a:lnTo>
                <a:close/>
                <a:moveTo>
                  <a:pt x="426244" y="159544"/>
                </a:moveTo>
                <a:lnTo>
                  <a:pt x="197644" y="159544"/>
                </a:lnTo>
                <a:lnTo>
                  <a:pt x="197644" y="197644"/>
                </a:lnTo>
                <a:lnTo>
                  <a:pt x="426244" y="197644"/>
                </a:lnTo>
                <a:lnTo>
                  <a:pt x="426244" y="159544"/>
                </a:lnTo>
                <a:close/>
                <a:moveTo>
                  <a:pt x="502444" y="7144"/>
                </a:moveTo>
                <a:lnTo>
                  <a:pt x="502444" y="364331"/>
                </a:lnTo>
                <a:lnTo>
                  <a:pt x="383381" y="483394"/>
                </a:lnTo>
                <a:lnTo>
                  <a:pt x="249841" y="483394"/>
                </a:lnTo>
                <a:cubicBezTo>
                  <a:pt x="225743" y="517874"/>
                  <a:pt x="185833" y="540544"/>
                  <a:pt x="140494" y="540544"/>
                </a:cubicBezTo>
                <a:cubicBezTo>
                  <a:pt x="66866" y="540544"/>
                  <a:pt x="7144" y="480822"/>
                  <a:pt x="7144" y="407194"/>
                </a:cubicBezTo>
                <a:cubicBezTo>
                  <a:pt x="7144" y="340043"/>
                  <a:pt x="56864" y="284607"/>
                  <a:pt x="121444" y="275368"/>
                </a:cubicBezTo>
                <a:lnTo>
                  <a:pt x="121444" y="7144"/>
                </a:lnTo>
                <a:lnTo>
                  <a:pt x="502444" y="7144"/>
                </a:lnTo>
                <a:close/>
                <a:moveTo>
                  <a:pt x="197358" y="483394"/>
                </a:moveTo>
                <a:cubicBezTo>
                  <a:pt x="210503" y="473583"/>
                  <a:pt x="221075" y="460534"/>
                  <a:pt x="227648" y="445294"/>
                </a:cubicBezTo>
                <a:cubicBezTo>
                  <a:pt x="232791" y="433578"/>
                  <a:pt x="235649" y="420719"/>
                  <a:pt x="235649" y="407194"/>
                </a:cubicBezTo>
                <a:cubicBezTo>
                  <a:pt x="235649" y="361188"/>
                  <a:pt x="202883" y="322707"/>
                  <a:pt x="159449" y="313849"/>
                </a:cubicBezTo>
                <a:cubicBezTo>
                  <a:pt x="153257" y="312611"/>
                  <a:pt x="146876" y="311944"/>
                  <a:pt x="140399" y="311944"/>
                </a:cubicBezTo>
                <a:cubicBezTo>
                  <a:pt x="133922" y="311944"/>
                  <a:pt x="127540" y="312611"/>
                  <a:pt x="121349" y="313849"/>
                </a:cubicBezTo>
                <a:cubicBezTo>
                  <a:pt x="77915" y="322707"/>
                  <a:pt x="45149" y="361188"/>
                  <a:pt x="45149" y="407194"/>
                </a:cubicBezTo>
                <a:cubicBezTo>
                  <a:pt x="45149" y="459677"/>
                  <a:pt x="87916" y="502444"/>
                  <a:pt x="140399" y="502444"/>
                </a:cubicBezTo>
                <a:cubicBezTo>
                  <a:pt x="161830" y="502444"/>
                  <a:pt x="181547" y="495300"/>
                  <a:pt x="197358" y="483394"/>
                </a:cubicBezTo>
                <a:close/>
                <a:moveTo>
                  <a:pt x="273844" y="407194"/>
                </a:moveTo>
                <a:cubicBezTo>
                  <a:pt x="273844" y="420434"/>
                  <a:pt x="271844" y="433197"/>
                  <a:pt x="268224" y="445294"/>
                </a:cubicBezTo>
                <a:lnTo>
                  <a:pt x="340519" y="445294"/>
                </a:lnTo>
                <a:lnTo>
                  <a:pt x="340519" y="321469"/>
                </a:lnTo>
                <a:lnTo>
                  <a:pt x="464344" y="321469"/>
                </a:lnTo>
                <a:lnTo>
                  <a:pt x="464344" y="45244"/>
                </a:lnTo>
                <a:lnTo>
                  <a:pt x="159544" y="45244"/>
                </a:lnTo>
                <a:lnTo>
                  <a:pt x="159544" y="275368"/>
                </a:lnTo>
                <a:cubicBezTo>
                  <a:pt x="224123" y="284607"/>
                  <a:pt x="273844" y="340043"/>
                  <a:pt x="273844" y="407194"/>
                </a:cubicBezTo>
                <a:close/>
                <a:moveTo>
                  <a:pt x="453295" y="359569"/>
                </a:moveTo>
                <a:lnTo>
                  <a:pt x="378619" y="359569"/>
                </a:lnTo>
                <a:lnTo>
                  <a:pt x="378619" y="434245"/>
                </a:lnTo>
                <a:lnTo>
                  <a:pt x="453295" y="359569"/>
                </a:lnTo>
                <a:close/>
                <a:moveTo>
                  <a:pt x="159544" y="370618"/>
                </a:moveTo>
                <a:lnTo>
                  <a:pt x="123634" y="413385"/>
                </a:lnTo>
                <a:lnTo>
                  <a:pt x="121444" y="411575"/>
                </a:lnTo>
                <a:lnTo>
                  <a:pt x="92583" y="387382"/>
                </a:lnTo>
                <a:lnTo>
                  <a:pt x="68104" y="416528"/>
                </a:lnTo>
                <a:lnTo>
                  <a:pt x="121444" y="461296"/>
                </a:lnTo>
                <a:lnTo>
                  <a:pt x="128397" y="467106"/>
                </a:lnTo>
                <a:lnTo>
                  <a:pt x="159544" y="429959"/>
                </a:lnTo>
                <a:lnTo>
                  <a:pt x="204883" y="375857"/>
                </a:lnTo>
                <a:lnTo>
                  <a:pt x="175736" y="351377"/>
                </a:lnTo>
                <a:lnTo>
                  <a:pt x="159544" y="370618"/>
                </a:lnTo>
                <a:close/>
              </a:path>
            </a:pathLst>
          </a:custGeom>
          <a:solidFill>
            <a:srgbClr val="002856"/>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39269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5A34D3-9051-8E69-08A5-50753CB7F1F2}"/>
              </a:ext>
            </a:extLst>
          </p:cNvPr>
          <p:cNvSpPr/>
          <p:nvPr/>
        </p:nvSpPr>
        <p:spPr>
          <a:xfrm>
            <a:off x="6095205" y="1427707"/>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sed on ambition and oversight</a:t>
            </a:r>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dirty="0">
                <a:solidFill>
                  <a:srgbClr val="BDBDBD"/>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dirty="0">
                <a:solidFill>
                  <a:srgbClr val="BDBDBD"/>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69517"/>
            <a:ext cx="3524672" cy="369332"/>
          </a:xfrm>
          <a:prstGeom prst="rect">
            <a:avLst/>
          </a:prstGeom>
          <a:noFill/>
        </p:spPr>
        <p:txBody>
          <a:bodyPr wrap="square">
            <a:spAutoFit/>
          </a:bodyPr>
          <a:lstStyle/>
          <a:p>
            <a:pPr>
              <a:spcAft>
                <a:spcPts val="600"/>
              </a:spcAft>
            </a:pPr>
            <a:r>
              <a:rPr lang="en-US" dirty="0">
                <a:solidFill>
                  <a:srgbClr val="BDBDBD"/>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dirty="0">
                <a:solidFill>
                  <a:srgbClr val="BDBDBD"/>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dirty="0">
                <a:solidFill>
                  <a:srgbClr val="002856"/>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8" name="Circle">
            <a:extLst>
              <a:ext uri="{FF2B5EF4-FFF2-40B4-BE49-F238E27FC236}">
                <a16:creationId xmlns:a16="http://schemas.microsoft.com/office/drawing/2014/main" id="{7D83B7EE-C009-2540-245A-A4DC3DC823C0}"/>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Circle">
            <a:extLst>
              <a:ext uri="{FF2B5EF4-FFF2-40B4-BE49-F238E27FC236}">
                <a16:creationId xmlns:a16="http://schemas.microsoft.com/office/drawing/2014/main" id="{7318FB26-C7C9-D6C2-AEF7-52BF521298C9}"/>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BDBDBD"/>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1</a:t>
            </a:r>
            <a:endParaRPr sz="3200" b="1" dirty="0">
              <a:latin typeface="+mj-lt"/>
            </a:endParaRPr>
          </a:p>
        </p:txBody>
      </p:sp>
      <p:sp>
        <p:nvSpPr>
          <p:cNvPr id="16" name="Isosceles Triangle 15">
            <a:extLst>
              <a:ext uri="{FF2B5EF4-FFF2-40B4-BE49-F238E27FC236}">
                <a16:creationId xmlns:a16="http://schemas.microsoft.com/office/drawing/2014/main" id="{C7256DB8-C869-1E30-DDC3-A11AB967E14E}"/>
              </a:ext>
            </a:extLst>
          </p:cNvPr>
          <p:cNvSpPr/>
          <p:nvPr/>
        </p:nvSpPr>
        <p:spPr>
          <a:xfrm rot="5400000">
            <a:off x="5987476" y="1544901"/>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2</a:t>
            </a:r>
            <a:endParaRPr sz="3200" b="1" dirty="0">
              <a:solidFill>
                <a:srgbClr val="FFFFFF"/>
              </a:solidFill>
              <a:latin typeface="+mj-lt"/>
            </a:endParaRPr>
          </a:p>
        </p:txBody>
      </p:sp>
      <p:sp>
        <p:nvSpPr>
          <p:cNvPr id="13" name="Rectangle 12">
            <a:extLst>
              <a:ext uri="{FF2B5EF4-FFF2-40B4-BE49-F238E27FC236}">
                <a16:creationId xmlns:a16="http://schemas.microsoft.com/office/drawing/2014/main" id="{60F11323-D9C8-6A75-8F3E-2E32D6733B89}"/>
              </a:ext>
            </a:extLst>
          </p:cNvPr>
          <p:cNvSpPr/>
          <p:nvPr/>
        </p:nvSpPr>
        <p:spPr>
          <a:xfrm>
            <a:off x="6095205" y="2204635"/>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ioritize peer and supplier inputs</a:t>
            </a:r>
          </a:p>
        </p:txBody>
      </p:sp>
      <p:sp>
        <p:nvSpPr>
          <p:cNvPr id="20" name="Isosceles Triangle 19">
            <a:extLst>
              <a:ext uri="{FF2B5EF4-FFF2-40B4-BE49-F238E27FC236}">
                <a16:creationId xmlns:a16="http://schemas.microsoft.com/office/drawing/2014/main" id="{17D2973B-F740-29BF-4F0C-A9CE5CE0AEAE}"/>
              </a:ext>
            </a:extLst>
          </p:cNvPr>
          <p:cNvSpPr/>
          <p:nvPr/>
        </p:nvSpPr>
        <p:spPr>
          <a:xfrm rot="5400000">
            <a:off x="5987476" y="2321829"/>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Circle">
            <a:extLst>
              <a:ext uri="{FF2B5EF4-FFF2-40B4-BE49-F238E27FC236}">
                <a16:creationId xmlns:a16="http://schemas.microsoft.com/office/drawing/2014/main" id="{B3EB49D2-A1DC-305B-4744-29B755986195}"/>
              </a:ext>
            </a:extLst>
          </p:cNvPr>
          <p:cNvSpPr/>
          <p:nvPr/>
        </p:nvSpPr>
        <p:spPr>
          <a:xfrm>
            <a:off x="735044" y="2981099"/>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3</a:t>
            </a:r>
            <a:endParaRPr sz="3200" b="1" dirty="0">
              <a:solidFill>
                <a:srgbClr val="FFFFFF"/>
              </a:solidFill>
              <a:latin typeface="+mj-lt"/>
            </a:endParaRPr>
          </a:p>
        </p:txBody>
      </p:sp>
      <p:sp>
        <p:nvSpPr>
          <p:cNvPr id="25" name="Circle">
            <a:extLst>
              <a:ext uri="{FF2B5EF4-FFF2-40B4-BE49-F238E27FC236}">
                <a16:creationId xmlns:a16="http://schemas.microsoft.com/office/drawing/2014/main" id="{5E0A185D-D504-BC8D-9556-D2BE9AB89857}"/>
              </a:ext>
            </a:extLst>
          </p:cNvPr>
          <p:cNvSpPr/>
          <p:nvPr/>
        </p:nvSpPr>
        <p:spPr>
          <a:xfrm>
            <a:off x="751038" y="3752665"/>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4</a:t>
            </a:r>
            <a:endParaRPr sz="3200" b="1" dirty="0">
              <a:solidFill>
                <a:srgbClr val="FFFFFF"/>
              </a:solidFill>
              <a:latin typeface="+mj-lt"/>
            </a:endParaRPr>
          </a:p>
        </p:txBody>
      </p:sp>
      <p:sp>
        <p:nvSpPr>
          <p:cNvPr id="26" name="Circle">
            <a:extLst>
              <a:ext uri="{FF2B5EF4-FFF2-40B4-BE49-F238E27FC236}">
                <a16:creationId xmlns:a16="http://schemas.microsoft.com/office/drawing/2014/main" id="{C3BE439B-EE32-5771-25FE-8E0795144AC0}"/>
              </a:ext>
            </a:extLst>
          </p:cNvPr>
          <p:cNvSpPr/>
          <p:nvPr/>
        </p:nvSpPr>
        <p:spPr>
          <a:xfrm>
            <a:off x="740380" y="4589677"/>
            <a:ext cx="603036" cy="603036"/>
          </a:xfrm>
          <a:prstGeom prst="ellipse">
            <a:avLst/>
          </a:prstGeom>
          <a:solidFill>
            <a:srgbClr val="BDBDBD"/>
          </a:solidFill>
          <a:ln w="12700">
            <a:miter lim="400000"/>
          </a:ln>
        </p:spPr>
        <p:txBody>
          <a:bodyPr lIns="0" tIns="0" rIns="0" bIns="0" anchor="ctr"/>
          <a:lstStyle/>
          <a:p>
            <a:pPr algn="ctr"/>
            <a:r>
              <a:rPr lang="en-US" sz="3200" b="1" dirty="0">
                <a:solidFill>
                  <a:srgbClr val="FFFFFF"/>
                </a:solidFill>
                <a:latin typeface="+mj-lt"/>
              </a:rPr>
              <a:t>5</a:t>
            </a:r>
            <a:endParaRPr sz="3200" b="1" dirty="0">
              <a:solidFill>
                <a:srgbClr val="FFFFFF"/>
              </a:solidFill>
              <a:latin typeface="+mj-lt"/>
            </a:endParaRPr>
          </a:p>
        </p:txBody>
      </p:sp>
      <p:sp>
        <p:nvSpPr>
          <p:cNvPr id="27" name="Circle">
            <a:extLst>
              <a:ext uri="{FF2B5EF4-FFF2-40B4-BE49-F238E27FC236}">
                <a16:creationId xmlns:a16="http://schemas.microsoft.com/office/drawing/2014/main" id="{D4434466-2143-411C-4F70-76E6B2D1E672}"/>
              </a:ext>
            </a:extLst>
          </p:cNvPr>
          <p:cNvSpPr/>
          <p:nvPr/>
        </p:nvSpPr>
        <p:spPr>
          <a:xfrm>
            <a:off x="753560" y="5389359"/>
            <a:ext cx="603036" cy="603036"/>
          </a:xfrm>
          <a:prstGeom prst="ellipse">
            <a:avLst/>
          </a:prstGeom>
          <a:solidFill>
            <a:srgbClr val="002856"/>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6</a:t>
            </a:r>
            <a:endParaRPr sz="3200" b="1" dirty="0">
              <a:latin typeface="+mj-lt"/>
            </a:endParaRPr>
          </a:p>
        </p:txBody>
      </p:sp>
      <p:sp>
        <p:nvSpPr>
          <p:cNvPr id="28" name="Rectangle 27">
            <a:extLst>
              <a:ext uri="{FF2B5EF4-FFF2-40B4-BE49-F238E27FC236}">
                <a16:creationId xmlns:a16="http://schemas.microsoft.com/office/drawing/2014/main" id="{B5817132-6959-3927-EEC6-93E70D5DB1D9}"/>
              </a:ext>
            </a:extLst>
          </p:cNvPr>
          <p:cNvSpPr/>
          <p:nvPr/>
        </p:nvSpPr>
        <p:spPr>
          <a:xfrm>
            <a:off x="1549735" y="2981099"/>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Rectangle 28">
            <a:extLst>
              <a:ext uri="{FF2B5EF4-FFF2-40B4-BE49-F238E27FC236}">
                <a16:creationId xmlns:a16="http://schemas.microsoft.com/office/drawing/2014/main" id="{62B0BA63-F058-B536-6886-0B962D5121D2}"/>
              </a:ext>
            </a:extLst>
          </p:cNvPr>
          <p:cNvSpPr/>
          <p:nvPr/>
        </p:nvSpPr>
        <p:spPr>
          <a:xfrm>
            <a:off x="6102133" y="2981260"/>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Focus on HOW</a:t>
            </a:r>
          </a:p>
        </p:txBody>
      </p:sp>
      <p:sp>
        <p:nvSpPr>
          <p:cNvPr id="30" name="Isosceles Triangle 29">
            <a:extLst>
              <a:ext uri="{FF2B5EF4-FFF2-40B4-BE49-F238E27FC236}">
                <a16:creationId xmlns:a16="http://schemas.microsoft.com/office/drawing/2014/main" id="{2720027E-25F6-EFB8-D68A-1C0A8CE1750A}"/>
              </a:ext>
            </a:extLst>
          </p:cNvPr>
          <p:cNvSpPr/>
          <p:nvPr/>
        </p:nvSpPr>
        <p:spPr>
          <a:xfrm rot="5400000">
            <a:off x="5994404" y="3098454"/>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93E3A37A-F7FA-BCDD-7601-016E4BA34A65}"/>
              </a:ext>
            </a:extLst>
          </p:cNvPr>
          <p:cNvSpPr/>
          <p:nvPr/>
        </p:nvSpPr>
        <p:spPr>
          <a:xfrm>
            <a:off x="1549735" y="3762003"/>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7FE31539-4B0F-8DDF-88E8-1E4C4F80DCC8}"/>
              </a:ext>
            </a:extLst>
          </p:cNvPr>
          <p:cNvSpPr/>
          <p:nvPr/>
        </p:nvSpPr>
        <p:spPr>
          <a:xfrm>
            <a:off x="1549735" y="4589677"/>
            <a:ext cx="4540134" cy="603036"/>
          </a:xfrm>
          <a:prstGeom prst="rect">
            <a:avLst/>
          </a:prstGeom>
          <a:noFill/>
          <a:ln>
            <a:solidFill>
              <a:srgbClr val="BDBD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Rectangle 33">
            <a:extLst>
              <a:ext uri="{FF2B5EF4-FFF2-40B4-BE49-F238E27FC236}">
                <a16:creationId xmlns:a16="http://schemas.microsoft.com/office/drawing/2014/main" id="{81C5A833-F3AA-3370-9552-539B036A2D28}"/>
              </a:ext>
            </a:extLst>
          </p:cNvPr>
          <p:cNvSpPr/>
          <p:nvPr/>
        </p:nvSpPr>
        <p:spPr>
          <a:xfrm>
            <a:off x="6102133" y="3762003"/>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ke control, don’t accept canned demos</a:t>
            </a:r>
          </a:p>
        </p:txBody>
      </p:sp>
      <p:sp>
        <p:nvSpPr>
          <p:cNvPr id="35" name="Isosceles Triangle 34">
            <a:extLst>
              <a:ext uri="{FF2B5EF4-FFF2-40B4-BE49-F238E27FC236}">
                <a16:creationId xmlns:a16="http://schemas.microsoft.com/office/drawing/2014/main" id="{B4F566D5-BD9B-791D-4948-388654CC3AAA}"/>
              </a:ext>
            </a:extLst>
          </p:cNvPr>
          <p:cNvSpPr/>
          <p:nvPr/>
        </p:nvSpPr>
        <p:spPr>
          <a:xfrm rot="5400000">
            <a:off x="5994404" y="3879197"/>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C7C6C472-A04D-E1E5-668F-0C49EFF55A07}"/>
              </a:ext>
            </a:extLst>
          </p:cNvPr>
          <p:cNvSpPr/>
          <p:nvPr/>
        </p:nvSpPr>
        <p:spPr>
          <a:xfrm>
            <a:off x="6102133" y="4592699"/>
            <a:ext cx="5037083" cy="603036"/>
          </a:xfrm>
          <a:prstGeom prst="rect">
            <a:avLst/>
          </a:prstGeom>
          <a:solidFill>
            <a:srgbClr val="BDBDBD"/>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Go beyond tool features</a:t>
            </a:r>
          </a:p>
        </p:txBody>
      </p:sp>
      <p:sp>
        <p:nvSpPr>
          <p:cNvPr id="37" name="Isosceles Triangle 36">
            <a:extLst>
              <a:ext uri="{FF2B5EF4-FFF2-40B4-BE49-F238E27FC236}">
                <a16:creationId xmlns:a16="http://schemas.microsoft.com/office/drawing/2014/main" id="{01AD8D11-F346-33ED-46AB-E4251A68FD97}"/>
              </a:ext>
            </a:extLst>
          </p:cNvPr>
          <p:cNvSpPr/>
          <p:nvPr/>
        </p:nvSpPr>
        <p:spPr>
          <a:xfrm rot="5400000">
            <a:off x="5994404" y="4709893"/>
            <a:ext cx="584791" cy="369332"/>
          </a:xfrm>
          <a:prstGeom prst="triangle">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Rectangle 37">
            <a:extLst>
              <a:ext uri="{FF2B5EF4-FFF2-40B4-BE49-F238E27FC236}">
                <a16:creationId xmlns:a16="http://schemas.microsoft.com/office/drawing/2014/main" id="{89015BB3-566C-7306-6A4E-639D033DA82C}"/>
              </a:ext>
            </a:extLst>
          </p:cNvPr>
          <p:cNvSpPr/>
          <p:nvPr/>
        </p:nvSpPr>
        <p:spPr>
          <a:xfrm>
            <a:off x="1549735" y="5389359"/>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 name="TextBox 38">
            <a:extLst>
              <a:ext uri="{FF2B5EF4-FFF2-40B4-BE49-F238E27FC236}">
                <a16:creationId xmlns:a16="http://schemas.microsoft.com/office/drawing/2014/main" id="{4E0EEDE4-D6F4-F910-A130-057D35785AEA}"/>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rgbClr val="BDBDBD"/>
                </a:solidFill>
                <a:latin typeface="+mj-lt"/>
              </a:rPr>
              <a:t>Define Outcomes and Capabilities</a:t>
            </a:r>
          </a:p>
        </p:txBody>
      </p:sp>
    </p:spTree>
    <p:extLst>
      <p:ext uri="{BB962C8B-B14F-4D97-AF65-F5344CB8AC3E}">
        <p14:creationId xmlns:p14="http://schemas.microsoft.com/office/powerpoint/2010/main" val="276462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8C33A-987A-EB10-AB5B-737DF4EF2839}"/>
              </a:ext>
            </a:extLst>
          </p:cNvPr>
          <p:cNvSpPr>
            <a:spLocks noGrp="1"/>
          </p:cNvSpPr>
          <p:nvPr>
            <p:ph type="title"/>
          </p:nvPr>
        </p:nvSpPr>
        <p:spPr/>
        <p:txBody>
          <a:bodyPr/>
          <a:lstStyle/>
          <a:p>
            <a:r>
              <a:rPr lang="en-US" dirty="0"/>
              <a:t>Uncover Hidden Costs Upfront to Avoid Surprises</a:t>
            </a:r>
          </a:p>
        </p:txBody>
      </p:sp>
      <p:cxnSp>
        <p:nvCxnSpPr>
          <p:cNvPr id="4" name="Straight Connector 3">
            <a:extLst>
              <a:ext uri="{FF2B5EF4-FFF2-40B4-BE49-F238E27FC236}">
                <a16:creationId xmlns:a16="http://schemas.microsoft.com/office/drawing/2014/main" id="{E9FC05AA-302A-5AFC-FC7A-AB87246C25DB}"/>
              </a:ext>
            </a:extLst>
          </p:cNvPr>
          <p:cNvCxnSpPr>
            <a:cxnSpLocks/>
          </p:cNvCxnSpPr>
          <p:nvPr/>
        </p:nvCxnSpPr>
        <p:spPr>
          <a:xfrm flipH="1">
            <a:off x="457202" y="2423822"/>
            <a:ext cx="11276011"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3A9D964-48AB-042F-D4E6-23289E93A009}"/>
              </a:ext>
            </a:extLst>
          </p:cNvPr>
          <p:cNvGrpSpPr/>
          <p:nvPr/>
        </p:nvGrpSpPr>
        <p:grpSpPr>
          <a:xfrm>
            <a:off x="3763749" y="1343025"/>
            <a:ext cx="4306560" cy="4645025"/>
            <a:chOff x="840300" y="1631852"/>
            <a:chExt cx="3853736" cy="4156612"/>
          </a:xfrm>
        </p:grpSpPr>
        <p:sp>
          <p:nvSpPr>
            <p:cNvPr id="6" name="Graphic 3">
              <a:extLst>
                <a:ext uri="{FF2B5EF4-FFF2-40B4-BE49-F238E27FC236}">
                  <a16:creationId xmlns:a16="http://schemas.microsoft.com/office/drawing/2014/main" id="{2E651D0F-688D-B023-01A6-3DC15F458347}"/>
                </a:ext>
              </a:extLst>
            </p:cNvPr>
            <p:cNvSpPr/>
            <p:nvPr/>
          </p:nvSpPr>
          <p:spPr>
            <a:xfrm>
              <a:off x="1103161" y="2599006"/>
              <a:ext cx="3335763" cy="3189458"/>
            </a:xfrm>
            <a:custGeom>
              <a:avLst/>
              <a:gdLst>
                <a:gd name="connsiteX0" fmla="*/ 367580 w 1447800"/>
                <a:gd name="connsiteY0" fmla="*/ 1152525 h 1384300"/>
                <a:gd name="connsiteX1" fmla="*/ 331385 w 1447800"/>
                <a:gd name="connsiteY1" fmla="*/ 1245235 h 1384300"/>
                <a:gd name="connsiteX2" fmla="*/ 328210 w 1447800"/>
                <a:gd name="connsiteY2" fmla="*/ 1244600 h 1384300"/>
                <a:gd name="connsiteX3" fmla="*/ 280585 w 1447800"/>
                <a:gd name="connsiteY3" fmla="*/ 943610 h 1384300"/>
                <a:gd name="connsiteX4" fmla="*/ 267885 w 1447800"/>
                <a:gd name="connsiteY4" fmla="*/ 966470 h 1384300"/>
                <a:gd name="connsiteX5" fmla="*/ 241215 w 1447800"/>
                <a:gd name="connsiteY5" fmla="*/ 1029970 h 1384300"/>
                <a:gd name="connsiteX6" fmla="*/ 235500 w 1447800"/>
                <a:gd name="connsiteY6" fmla="*/ 1038225 h 1384300"/>
                <a:gd name="connsiteX7" fmla="*/ 228515 w 1447800"/>
                <a:gd name="connsiteY7" fmla="*/ 1029970 h 1384300"/>
                <a:gd name="connsiteX8" fmla="*/ 175175 w 1447800"/>
                <a:gd name="connsiteY8" fmla="*/ 872490 h 1384300"/>
                <a:gd name="connsiteX9" fmla="*/ 173270 w 1447800"/>
                <a:gd name="connsiteY9" fmla="*/ 854710 h 1384300"/>
                <a:gd name="connsiteX10" fmla="*/ 160570 w 1447800"/>
                <a:gd name="connsiteY10" fmla="*/ 672465 h 1384300"/>
                <a:gd name="connsiteX11" fmla="*/ 175175 w 1447800"/>
                <a:gd name="connsiteY11" fmla="*/ 572770 h 1384300"/>
                <a:gd name="connsiteX12" fmla="*/ 239310 w 1447800"/>
                <a:gd name="connsiteY12" fmla="*/ 427990 h 1384300"/>
                <a:gd name="connsiteX13" fmla="*/ 226610 w 1447800"/>
                <a:gd name="connsiteY13" fmla="*/ 371475 h 1384300"/>
                <a:gd name="connsiteX14" fmla="*/ 224070 w 1447800"/>
                <a:gd name="connsiteY14" fmla="*/ 354965 h 1384300"/>
                <a:gd name="connsiteX15" fmla="*/ 252645 w 1447800"/>
                <a:gd name="connsiteY15" fmla="*/ 321310 h 1384300"/>
                <a:gd name="connsiteX16" fmla="*/ 260265 w 1447800"/>
                <a:gd name="connsiteY16" fmla="*/ 305435 h 1384300"/>
                <a:gd name="connsiteX17" fmla="*/ 262170 w 1447800"/>
                <a:gd name="connsiteY17" fmla="*/ 199390 h 1384300"/>
                <a:gd name="connsiteX18" fmla="*/ 260265 w 1447800"/>
                <a:gd name="connsiteY18" fmla="*/ 193675 h 1384300"/>
                <a:gd name="connsiteX19" fmla="*/ 252645 w 1447800"/>
                <a:gd name="connsiteY19" fmla="*/ 246380 h 1384300"/>
                <a:gd name="connsiteX20" fmla="*/ 248835 w 1447800"/>
                <a:gd name="connsiteY20" fmla="*/ 297815 h 1384300"/>
                <a:gd name="connsiteX21" fmla="*/ 239945 w 1447800"/>
                <a:gd name="connsiteY21" fmla="*/ 318135 h 1384300"/>
                <a:gd name="connsiteX22" fmla="*/ 225340 w 1447800"/>
                <a:gd name="connsiteY22" fmla="*/ 335280 h 1384300"/>
                <a:gd name="connsiteX23" fmla="*/ 200575 w 1447800"/>
                <a:gd name="connsiteY23" fmla="*/ 356235 h 1384300"/>
                <a:gd name="connsiteX24" fmla="*/ 159300 w 1447800"/>
                <a:gd name="connsiteY24" fmla="*/ 326390 h 1384300"/>
                <a:gd name="connsiteX25" fmla="*/ 5630 w 1447800"/>
                <a:gd name="connsiteY25" fmla="*/ 18415 h 1384300"/>
                <a:gd name="connsiteX26" fmla="*/ 17695 w 1447800"/>
                <a:gd name="connsiteY26" fmla="*/ 0 h 1384300"/>
                <a:gd name="connsiteX27" fmla="*/ 1430570 w 1447800"/>
                <a:gd name="connsiteY27" fmla="*/ 0 h 1384300"/>
                <a:gd name="connsiteX28" fmla="*/ 1444540 w 1447800"/>
                <a:gd name="connsiteY28" fmla="*/ 20320 h 1384300"/>
                <a:gd name="connsiteX29" fmla="*/ 1378501 w 1447800"/>
                <a:gd name="connsiteY29" fmla="*/ 192405 h 1384300"/>
                <a:gd name="connsiteX30" fmla="*/ 1368340 w 1447800"/>
                <a:gd name="connsiteY30" fmla="*/ 273685 h 1384300"/>
                <a:gd name="connsiteX31" fmla="*/ 1350560 w 1447800"/>
                <a:gd name="connsiteY31" fmla="*/ 466090 h 1384300"/>
                <a:gd name="connsiteX32" fmla="*/ 1345480 w 1447800"/>
                <a:gd name="connsiteY32" fmla="*/ 530860 h 1384300"/>
                <a:gd name="connsiteX33" fmla="*/ 1341670 w 1447800"/>
                <a:gd name="connsiteY33" fmla="*/ 531495 h 1384300"/>
                <a:gd name="connsiteX34" fmla="*/ 1306745 w 1447800"/>
                <a:gd name="connsiteY34" fmla="*/ 414655 h 1384300"/>
                <a:gd name="connsiteX35" fmla="*/ 1302935 w 1447800"/>
                <a:gd name="connsiteY35" fmla="*/ 414655 h 1384300"/>
                <a:gd name="connsiteX36" fmla="*/ 1268010 w 1447800"/>
                <a:gd name="connsiteY36" fmla="*/ 519430 h 1384300"/>
                <a:gd name="connsiteX37" fmla="*/ 1265470 w 1447800"/>
                <a:gd name="connsiteY37" fmla="*/ 609600 h 1384300"/>
                <a:gd name="connsiteX38" fmla="*/ 1312460 w 1447800"/>
                <a:gd name="connsiteY38" fmla="*/ 811530 h 1384300"/>
                <a:gd name="connsiteX39" fmla="*/ 1311826 w 1447800"/>
                <a:gd name="connsiteY39" fmla="*/ 821690 h 1384300"/>
                <a:gd name="connsiteX40" fmla="*/ 1243245 w 1447800"/>
                <a:gd name="connsiteY40" fmla="*/ 739140 h 1384300"/>
                <a:gd name="connsiteX41" fmla="*/ 1243880 w 1447800"/>
                <a:gd name="connsiteY41" fmla="*/ 756285 h 1384300"/>
                <a:gd name="connsiteX42" fmla="*/ 1272455 w 1447800"/>
                <a:gd name="connsiteY42" fmla="*/ 874395 h 1384300"/>
                <a:gd name="connsiteX43" fmla="*/ 1268010 w 1447800"/>
                <a:gd name="connsiteY43" fmla="*/ 902970 h 1384300"/>
                <a:gd name="connsiteX44" fmla="*/ 1245151 w 1447800"/>
                <a:gd name="connsiteY44" fmla="*/ 944245 h 1384300"/>
                <a:gd name="connsiteX45" fmla="*/ 1227370 w 1447800"/>
                <a:gd name="connsiteY45" fmla="*/ 945515 h 1384300"/>
                <a:gd name="connsiteX46" fmla="*/ 1124501 w 1447800"/>
                <a:gd name="connsiteY46" fmla="*/ 788670 h 1384300"/>
                <a:gd name="connsiteX47" fmla="*/ 1113705 w 1447800"/>
                <a:gd name="connsiteY47" fmla="*/ 778510 h 1384300"/>
                <a:gd name="connsiteX48" fmla="*/ 1125770 w 1447800"/>
                <a:gd name="connsiteY48" fmla="*/ 800735 h 1384300"/>
                <a:gd name="connsiteX49" fmla="*/ 1213401 w 1447800"/>
                <a:gd name="connsiteY49" fmla="*/ 971550 h 1384300"/>
                <a:gd name="connsiteX50" fmla="*/ 1208955 w 1447800"/>
                <a:gd name="connsiteY50" fmla="*/ 998220 h 1384300"/>
                <a:gd name="connsiteX51" fmla="*/ 1158155 w 1447800"/>
                <a:gd name="connsiteY51" fmla="*/ 1046480 h 1384300"/>
                <a:gd name="connsiteX52" fmla="*/ 1137835 w 1447800"/>
                <a:gd name="connsiteY52" fmla="*/ 1046480 h 1384300"/>
                <a:gd name="connsiteX53" fmla="*/ 1062270 w 1447800"/>
                <a:gd name="connsiteY53" fmla="*/ 1007110 h 1384300"/>
                <a:gd name="connsiteX54" fmla="*/ 1046395 w 1447800"/>
                <a:gd name="connsiteY54" fmla="*/ 1002665 h 1384300"/>
                <a:gd name="connsiteX55" fmla="*/ 1068620 w 1447800"/>
                <a:gd name="connsiteY55" fmla="*/ 1068705 h 1384300"/>
                <a:gd name="connsiteX56" fmla="*/ 1084495 w 1447800"/>
                <a:gd name="connsiteY56" fmla="*/ 1122045 h 1384300"/>
                <a:gd name="connsiteX57" fmla="*/ 1048935 w 1447800"/>
                <a:gd name="connsiteY57" fmla="*/ 1162050 h 1384300"/>
                <a:gd name="connsiteX58" fmla="*/ 888280 w 1447800"/>
                <a:gd name="connsiteY58" fmla="*/ 1322705 h 1384300"/>
                <a:gd name="connsiteX59" fmla="*/ 876215 w 1447800"/>
                <a:gd name="connsiteY59" fmla="*/ 1330960 h 1384300"/>
                <a:gd name="connsiteX60" fmla="*/ 871770 w 1447800"/>
                <a:gd name="connsiteY60" fmla="*/ 1316355 h 1384300"/>
                <a:gd name="connsiteX61" fmla="*/ 840655 w 1447800"/>
                <a:gd name="connsiteY61" fmla="*/ 1298575 h 1384300"/>
                <a:gd name="connsiteX62" fmla="*/ 683810 w 1447800"/>
                <a:gd name="connsiteY62" fmla="*/ 1379855 h 1384300"/>
                <a:gd name="connsiteX63" fmla="*/ 647615 w 1447800"/>
                <a:gd name="connsiteY63" fmla="*/ 1381125 h 1384300"/>
                <a:gd name="connsiteX64" fmla="*/ 427905 w 1447800"/>
                <a:gd name="connsiteY64" fmla="*/ 1290320 h 1384300"/>
                <a:gd name="connsiteX65" fmla="*/ 405045 w 1447800"/>
                <a:gd name="connsiteY65" fmla="*/ 1264920 h 1384300"/>
                <a:gd name="connsiteX66" fmla="*/ 375200 w 1447800"/>
                <a:gd name="connsiteY66" fmla="*/ 1163955 h 1384300"/>
                <a:gd name="connsiteX67" fmla="*/ 367580 w 1447800"/>
                <a:gd name="connsiteY67" fmla="*/ 1152525 h 138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447800" h="1384300">
                  <a:moveTo>
                    <a:pt x="367580" y="1152525"/>
                  </a:moveTo>
                  <a:cubicBezTo>
                    <a:pt x="355515" y="1184275"/>
                    <a:pt x="343450" y="1214755"/>
                    <a:pt x="331385" y="1245235"/>
                  </a:cubicBezTo>
                  <a:cubicBezTo>
                    <a:pt x="330115" y="1245235"/>
                    <a:pt x="329480" y="1245235"/>
                    <a:pt x="328210" y="1244600"/>
                  </a:cubicBezTo>
                  <a:cubicBezTo>
                    <a:pt x="312335" y="1145540"/>
                    <a:pt x="297095" y="1045845"/>
                    <a:pt x="280585" y="943610"/>
                  </a:cubicBezTo>
                  <a:cubicBezTo>
                    <a:pt x="271695" y="951230"/>
                    <a:pt x="270425" y="959485"/>
                    <a:pt x="267885" y="966470"/>
                  </a:cubicBezTo>
                  <a:cubicBezTo>
                    <a:pt x="258995" y="987425"/>
                    <a:pt x="250105" y="1008380"/>
                    <a:pt x="241215" y="1029970"/>
                  </a:cubicBezTo>
                  <a:cubicBezTo>
                    <a:pt x="239945" y="1033145"/>
                    <a:pt x="239310" y="1037590"/>
                    <a:pt x="235500" y="1038225"/>
                  </a:cubicBezTo>
                  <a:cubicBezTo>
                    <a:pt x="230420" y="1038860"/>
                    <a:pt x="229785" y="1033145"/>
                    <a:pt x="228515" y="1029970"/>
                  </a:cubicBezTo>
                  <a:cubicBezTo>
                    <a:pt x="210735" y="977265"/>
                    <a:pt x="192955" y="925195"/>
                    <a:pt x="175175" y="872490"/>
                  </a:cubicBezTo>
                  <a:cubicBezTo>
                    <a:pt x="173270" y="866775"/>
                    <a:pt x="172635" y="860425"/>
                    <a:pt x="173270" y="854710"/>
                  </a:cubicBezTo>
                  <a:cubicBezTo>
                    <a:pt x="176445" y="793750"/>
                    <a:pt x="166920" y="733425"/>
                    <a:pt x="160570" y="672465"/>
                  </a:cubicBezTo>
                  <a:cubicBezTo>
                    <a:pt x="156760" y="638810"/>
                    <a:pt x="163110" y="603885"/>
                    <a:pt x="175175" y="572770"/>
                  </a:cubicBezTo>
                  <a:cubicBezTo>
                    <a:pt x="194225" y="523875"/>
                    <a:pt x="217720" y="476250"/>
                    <a:pt x="239310" y="427990"/>
                  </a:cubicBezTo>
                  <a:cubicBezTo>
                    <a:pt x="251375" y="401320"/>
                    <a:pt x="248835" y="389255"/>
                    <a:pt x="226610" y="371475"/>
                  </a:cubicBezTo>
                  <a:cubicBezTo>
                    <a:pt x="219625" y="366395"/>
                    <a:pt x="219625" y="361950"/>
                    <a:pt x="224070" y="354965"/>
                  </a:cubicBezTo>
                  <a:cubicBezTo>
                    <a:pt x="231690" y="342265"/>
                    <a:pt x="242485" y="332105"/>
                    <a:pt x="252645" y="321310"/>
                  </a:cubicBezTo>
                  <a:cubicBezTo>
                    <a:pt x="257090" y="316865"/>
                    <a:pt x="261535" y="312420"/>
                    <a:pt x="260265" y="305435"/>
                  </a:cubicBezTo>
                  <a:cubicBezTo>
                    <a:pt x="254550" y="269875"/>
                    <a:pt x="261535" y="234315"/>
                    <a:pt x="262170" y="199390"/>
                  </a:cubicBezTo>
                  <a:cubicBezTo>
                    <a:pt x="262170" y="197485"/>
                    <a:pt x="261535" y="195580"/>
                    <a:pt x="260265" y="193675"/>
                  </a:cubicBezTo>
                  <a:cubicBezTo>
                    <a:pt x="252645" y="210185"/>
                    <a:pt x="255185" y="228600"/>
                    <a:pt x="252645" y="246380"/>
                  </a:cubicBezTo>
                  <a:cubicBezTo>
                    <a:pt x="250105" y="263525"/>
                    <a:pt x="250105" y="280670"/>
                    <a:pt x="248835" y="297815"/>
                  </a:cubicBezTo>
                  <a:cubicBezTo>
                    <a:pt x="248200" y="306070"/>
                    <a:pt x="244390" y="312420"/>
                    <a:pt x="239945" y="318135"/>
                  </a:cubicBezTo>
                  <a:cubicBezTo>
                    <a:pt x="234865" y="323850"/>
                    <a:pt x="231055" y="330835"/>
                    <a:pt x="225340" y="335280"/>
                  </a:cubicBezTo>
                  <a:cubicBezTo>
                    <a:pt x="216450" y="342265"/>
                    <a:pt x="213910" y="360045"/>
                    <a:pt x="200575" y="356235"/>
                  </a:cubicBezTo>
                  <a:cubicBezTo>
                    <a:pt x="184065" y="351790"/>
                    <a:pt x="168190" y="345440"/>
                    <a:pt x="159300" y="326390"/>
                  </a:cubicBezTo>
                  <a:cubicBezTo>
                    <a:pt x="109135" y="223520"/>
                    <a:pt x="57065" y="120650"/>
                    <a:pt x="5630" y="18415"/>
                  </a:cubicBezTo>
                  <a:cubicBezTo>
                    <a:pt x="-3260" y="0"/>
                    <a:pt x="-3260" y="0"/>
                    <a:pt x="17695" y="0"/>
                  </a:cubicBezTo>
                  <a:cubicBezTo>
                    <a:pt x="488865" y="0"/>
                    <a:pt x="959401" y="0"/>
                    <a:pt x="1430570" y="0"/>
                  </a:cubicBezTo>
                  <a:cubicBezTo>
                    <a:pt x="1451526" y="0"/>
                    <a:pt x="1452160" y="1270"/>
                    <a:pt x="1444540" y="20320"/>
                  </a:cubicBezTo>
                  <a:cubicBezTo>
                    <a:pt x="1422315" y="77470"/>
                    <a:pt x="1400090" y="134620"/>
                    <a:pt x="1378501" y="192405"/>
                  </a:cubicBezTo>
                  <a:cubicBezTo>
                    <a:pt x="1368976" y="218440"/>
                    <a:pt x="1370880" y="246380"/>
                    <a:pt x="1368340" y="273685"/>
                  </a:cubicBezTo>
                  <a:cubicBezTo>
                    <a:pt x="1361990" y="337820"/>
                    <a:pt x="1356276" y="401955"/>
                    <a:pt x="1350560" y="466090"/>
                  </a:cubicBezTo>
                  <a:cubicBezTo>
                    <a:pt x="1348655" y="487680"/>
                    <a:pt x="1346751" y="509270"/>
                    <a:pt x="1345480" y="530860"/>
                  </a:cubicBezTo>
                  <a:cubicBezTo>
                    <a:pt x="1344210" y="530860"/>
                    <a:pt x="1342940" y="531495"/>
                    <a:pt x="1341670" y="531495"/>
                  </a:cubicBezTo>
                  <a:cubicBezTo>
                    <a:pt x="1330240" y="492760"/>
                    <a:pt x="1318176" y="453390"/>
                    <a:pt x="1306745" y="414655"/>
                  </a:cubicBezTo>
                  <a:cubicBezTo>
                    <a:pt x="1305476" y="414655"/>
                    <a:pt x="1304205" y="414655"/>
                    <a:pt x="1302935" y="414655"/>
                  </a:cubicBezTo>
                  <a:cubicBezTo>
                    <a:pt x="1291505" y="449580"/>
                    <a:pt x="1281345" y="485140"/>
                    <a:pt x="1268010" y="519430"/>
                  </a:cubicBezTo>
                  <a:cubicBezTo>
                    <a:pt x="1255945" y="549910"/>
                    <a:pt x="1257851" y="578485"/>
                    <a:pt x="1265470" y="609600"/>
                  </a:cubicBezTo>
                  <a:cubicBezTo>
                    <a:pt x="1282615" y="676275"/>
                    <a:pt x="1297220" y="744220"/>
                    <a:pt x="1312460" y="811530"/>
                  </a:cubicBezTo>
                  <a:cubicBezTo>
                    <a:pt x="1313095" y="814705"/>
                    <a:pt x="1313730" y="817245"/>
                    <a:pt x="1311826" y="821690"/>
                  </a:cubicBezTo>
                  <a:cubicBezTo>
                    <a:pt x="1288965" y="794385"/>
                    <a:pt x="1266740" y="767080"/>
                    <a:pt x="1243245" y="739140"/>
                  </a:cubicBezTo>
                  <a:cubicBezTo>
                    <a:pt x="1239435" y="746125"/>
                    <a:pt x="1242610" y="751205"/>
                    <a:pt x="1243880" y="756285"/>
                  </a:cubicBezTo>
                  <a:cubicBezTo>
                    <a:pt x="1253405" y="795655"/>
                    <a:pt x="1262930" y="835660"/>
                    <a:pt x="1272455" y="874395"/>
                  </a:cubicBezTo>
                  <a:cubicBezTo>
                    <a:pt x="1274995" y="885190"/>
                    <a:pt x="1274360" y="894080"/>
                    <a:pt x="1268010" y="902970"/>
                  </a:cubicBezTo>
                  <a:cubicBezTo>
                    <a:pt x="1258485" y="915670"/>
                    <a:pt x="1251501" y="929640"/>
                    <a:pt x="1245151" y="944245"/>
                  </a:cubicBezTo>
                  <a:cubicBezTo>
                    <a:pt x="1238165" y="960120"/>
                    <a:pt x="1236895" y="960120"/>
                    <a:pt x="1227370" y="945515"/>
                  </a:cubicBezTo>
                  <a:cubicBezTo>
                    <a:pt x="1193080" y="893445"/>
                    <a:pt x="1158790" y="840740"/>
                    <a:pt x="1124501" y="788670"/>
                  </a:cubicBezTo>
                  <a:cubicBezTo>
                    <a:pt x="1121960" y="784860"/>
                    <a:pt x="1118785" y="781050"/>
                    <a:pt x="1113705" y="778510"/>
                  </a:cubicBezTo>
                  <a:cubicBezTo>
                    <a:pt x="1117515" y="786130"/>
                    <a:pt x="1121960" y="793115"/>
                    <a:pt x="1125770" y="800735"/>
                  </a:cubicBezTo>
                  <a:cubicBezTo>
                    <a:pt x="1154980" y="857885"/>
                    <a:pt x="1183555" y="915035"/>
                    <a:pt x="1213401" y="971550"/>
                  </a:cubicBezTo>
                  <a:cubicBezTo>
                    <a:pt x="1219115" y="982345"/>
                    <a:pt x="1218480" y="989965"/>
                    <a:pt x="1208955" y="998220"/>
                  </a:cubicBezTo>
                  <a:cubicBezTo>
                    <a:pt x="1191810" y="1014095"/>
                    <a:pt x="1174665" y="1029970"/>
                    <a:pt x="1158155" y="1046480"/>
                  </a:cubicBezTo>
                  <a:cubicBezTo>
                    <a:pt x="1150535" y="1054100"/>
                    <a:pt x="1144820" y="1050290"/>
                    <a:pt x="1137835" y="1046480"/>
                  </a:cubicBezTo>
                  <a:cubicBezTo>
                    <a:pt x="1112435" y="1033145"/>
                    <a:pt x="1087670" y="1020445"/>
                    <a:pt x="1062270" y="1007110"/>
                  </a:cubicBezTo>
                  <a:cubicBezTo>
                    <a:pt x="1057826" y="1004570"/>
                    <a:pt x="1054015" y="1001395"/>
                    <a:pt x="1046395" y="1002665"/>
                  </a:cubicBezTo>
                  <a:cubicBezTo>
                    <a:pt x="1054015" y="1024890"/>
                    <a:pt x="1061001" y="1046480"/>
                    <a:pt x="1068620" y="1068705"/>
                  </a:cubicBezTo>
                  <a:cubicBezTo>
                    <a:pt x="1074970" y="1086485"/>
                    <a:pt x="1087670" y="1104265"/>
                    <a:pt x="1084495" y="1122045"/>
                  </a:cubicBezTo>
                  <a:cubicBezTo>
                    <a:pt x="1081320" y="1139190"/>
                    <a:pt x="1061635" y="1149350"/>
                    <a:pt x="1048935" y="1162050"/>
                  </a:cubicBezTo>
                  <a:cubicBezTo>
                    <a:pt x="995595" y="1216025"/>
                    <a:pt x="941620" y="1269365"/>
                    <a:pt x="888280" y="1322705"/>
                  </a:cubicBezTo>
                  <a:cubicBezTo>
                    <a:pt x="885105" y="1325880"/>
                    <a:pt x="881295" y="1332865"/>
                    <a:pt x="876215" y="1330960"/>
                  </a:cubicBezTo>
                  <a:cubicBezTo>
                    <a:pt x="869230" y="1329055"/>
                    <a:pt x="872405" y="1321435"/>
                    <a:pt x="871770" y="1316355"/>
                  </a:cubicBezTo>
                  <a:cubicBezTo>
                    <a:pt x="869865" y="1283335"/>
                    <a:pt x="869865" y="1283335"/>
                    <a:pt x="840655" y="1298575"/>
                  </a:cubicBezTo>
                  <a:cubicBezTo>
                    <a:pt x="787951" y="1325245"/>
                    <a:pt x="735880" y="1352550"/>
                    <a:pt x="683810" y="1379855"/>
                  </a:cubicBezTo>
                  <a:cubicBezTo>
                    <a:pt x="671110" y="1386205"/>
                    <a:pt x="660315" y="1386205"/>
                    <a:pt x="647615" y="1381125"/>
                  </a:cubicBezTo>
                  <a:cubicBezTo>
                    <a:pt x="574590" y="1350645"/>
                    <a:pt x="501565" y="1320165"/>
                    <a:pt x="427905" y="1290320"/>
                  </a:cubicBezTo>
                  <a:cubicBezTo>
                    <a:pt x="415205" y="1285240"/>
                    <a:pt x="408220" y="1277620"/>
                    <a:pt x="405045" y="1264920"/>
                  </a:cubicBezTo>
                  <a:cubicBezTo>
                    <a:pt x="395520" y="1231265"/>
                    <a:pt x="385360" y="1197610"/>
                    <a:pt x="375200" y="1163955"/>
                  </a:cubicBezTo>
                  <a:cubicBezTo>
                    <a:pt x="373295" y="1160780"/>
                    <a:pt x="372660" y="1156335"/>
                    <a:pt x="367580" y="1152525"/>
                  </a:cubicBezTo>
                  <a:close/>
                </a:path>
              </a:pathLst>
            </a:custGeom>
            <a:solidFill>
              <a:srgbClr val="D3D3D3"/>
            </a:solidFill>
            <a:ln w="6350" cap="flat">
              <a:noFill/>
              <a:prstDash val="solid"/>
              <a:miter/>
            </a:ln>
          </p:spPr>
          <p:txBody>
            <a:bodyPr rtlCol="0" anchor="ctr"/>
            <a:lstStyle/>
            <a:p>
              <a:endParaRPr lang="en-US"/>
            </a:p>
          </p:txBody>
        </p:sp>
        <p:sp>
          <p:nvSpPr>
            <p:cNvPr id="7" name="Graphic 5">
              <a:extLst>
                <a:ext uri="{FF2B5EF4-FFF2-40B4-BE49-F238E27FC236}">
                  <a16:creationId xmlns:a16="http://schemas.microsoft.com/office/drawing/2014/main" id="{2FC9F7FE-51D0-8C5F-8CAD-A9A0DBD699A6}"/>
                </a:ext>
              </a:extLst>
            </p:cNvPr>
            <p:cNvSpPr/>
            <p:nvPr/>
          </p:nvSpPr>
          <p:spPr>
            <a:xfrm>
              <a:off x="840300" y="1631852"/>
              <a:ext cx="3853736" cy="967154"/>
            </a:xfrm>
            <a:custGeom>
              <a:avLst/>
              <a:gdLst>
                <a:gd name="connsiteX0" fmla="*/ 822422 w 1644650"/>
                <a:gd name="connsiteY0" fmla="*/ 416294 h 412750"/>
                <a:gd name="connsiteX1" fmla="*/ 21052 w 1644650"/>
                <a:gd name="connsiteY1" fmla="*/ 416294 h 412750"/>
                <a:gd name="connsiteX2" fmla="*/ 1367 w 1644650"/>
                <a:gd name="connsiteY2" fmla="*/ 395340 h 412750"/>
                <a:gd name="connsiteX3" fmla="*/ 33117 w 1644650"/>
                <a:gd name="connsiteY3" fmla="*/ 381369 h 412750"/>
                <a:gd name="connsiteX4" fmla="*/ 81377 w 1644650"/>
                <a:gd name="connsiteY4" fmla="*/ 381369 h 412750"/>
                <a:gd name="connsiteX5" fmla="*/ 95347 w 1644650"/>
                <a:gd name="connsiteY5" fmla="*/ 382640 h 412750"/>
                <a:gd name="connsiteX6" fmla="*/ 139797 w 1644650"/>
                <a:gd name="connsiteY6" fmla="*/ 382640 h 412750"/>
                <a:gd name="connsiteX7" fmla="*/ 156307 w 1644650"/>
                <a:gd name="connsiteY7" fmla="*/ 382640 h 412750"/>
                <a:gd name="connsiteX8" fmla="*/ 186787 w 1644650"/>
                <a:gd name="connsiteY8" fmla="*/ 385815 h 412750"/>
                <a:gd name="connsiteX9" fmla="*/ 335377 w 1644650"/>
                <a:gd name="connsiteY9" fmla="*/ 335015 h 412750"/>
                <a:gd name="connsiteX10" fmla="*/ 353792 w 1644650"/>
                <a:gd name="connsiteY10" fmla="*/ 315329 h 412750"/>
                <a:gd name="connsiteX11" fmla="*/ 393797 w 1644650"/>
                <a:gd name="connsiteY11" fmla="*/ 180709 h 412750"/>
                <a:gd name="connsiteX12" fmla="*/ 408402 w 1644650"/>
                <a:gd name="connsiteY12" fmla="*/ 158484 h 412750"/>
                <a:gd name="connsiteX13" fmla="*/ 527147 w 1644650"/>
                <a:gd name="connsiteY13" fmla="*/ 68314 h 412750"/>
                <a:gd name="connsiteX14" fmla="*/ 550642 w 1644650"/>
                <a:gd name="connsiteY14" fmla="*/ 68314 h 412750"/>
                <a:gd name="connsiteX15" fmla="*/ 683992 w 1644650"/>
                <a:gd name="connsiteY15" fmla="*/ 179440 h 412750"/>
                <a:gd name="connsiteX16" fmla="*/ 701772 w 1644650"/>
                <a:gd name="connsiteY16" fmla="*/ 176265 h 412750"/>
                <a:gd name="connsiteX17" fmla="*/ 723997 w 1644650"/>
                <a:gd name="connsiteY17" fmla="*/ 136259 h 412750"/>
                <a:gd name="connsiteX18" fmla="*/ 753842 w 1644650"/>
                <a:gd name="connsiteY18" fmla="*/ 112764 h 412750"/>
                <a:gd name="connsiteX19" fmla="*/ 793212 w 1644650"/>
                <a:gd name="connsiteY19" fmla="*/ 101334 h 412750"/>
                <a:gd name="connsiteX20" fmla="*/ 964027 w 1644650"/>
                <a:gd name="connsiteY20" fmla="*/ 14339 h 412750"/>
                <a:gd name="connsiteX21" fmla="*/ 1018002 w 1644650"/>
                <a:gd name="connsiteY21" fmla="*/ 22594 h 412750"/>
                <a:gd name="connsiteX22" fmla="*/ 1044037 w 1644650"/>
                <a:gd name="connsiteY22" fmla="*/ 52439 h 412750"/>
                <a:gd name="connsiteX23" fmla="*/ 1049752 w 1644650"/>
                <a:gd name="connsiteY23" fmla="*/ 64504 h 412750"/>
                <a:gd name="connsiteX24" fmla="*/ 1068167 w 1644650"/>
                <a:gd name="connsiteY24" fmla="*/ 94349 h 412750"/>
                <a:gd name="connsiteX25" fmla="*/ 1240252 w 1644650"/>
                <a:gd name="connsiteY25" fmla="*/ 209919 h 412750"/>
                <a:gd name="connsiteX26" fmla="*/ 1266922 w 1644650"/>
                <a:gd name="connsiteY26" fmla="*/ 209919 h 412750"/>
                <a:gd name="connsiteX27" fmla="*/ 1290417 w 1644650"/>
                <a:gd name="connsiteY27" fmla="*/ 165469 h 412750"/>
                <a:gd name="connsiteX28" fmla="*/ 1290417 w 1644650"/>
                <a:gd name="connsiteY28" fmla="*/ 121019 h 412750"/>
                <a:gd name="connsiteX29" fmla="*/ 1305022 w 1644650"/>
                <a:gd name="connsiteY29" fmla="*/ 112129 h 412750"/>
                <a:gd name="connsiteX30" fmla="*/ 1371062 w 1644650"/>
                <a:gd name="connsiteY30" fmla="*/ 139434 h 412750"/>
                <a:gd name="connsiteX31" fmla="*/ 1378047 w 1644650"/>
                <a:gd name="connsiteY31" fmla="*/ 148959 h 412750"/>
                <a:gd name="connsiteX32" fmla="*/ 1412337 w 1644650"/>
                <a:gd name="connsiteY32" fmla="*/ 225159 h 412750"/>
                <a:gd name="connsiteX33" fmla="*/ 1416147 w 1644650"/>
                <a:gd name="connsiteY33" fmla="*/ 281040 h 412750"/>
                <a:gd name="connsiteX34" fmla="*/ 1430752 w 1644650"/>
                <a:gd name="connsiteY34" fmla="*/ 317234 h 412750"/>
                <a:gd name="connsiteX35" fmla="*/ 1472027 w 1644650"/>
                <a:gd name="connsiteY35" fmla="*/ 362319 h 412750"/>
                <a:gd name="connsiteX36" fmla="*/ 1511397 w 1644650"/>
                <a:gd name="connsiteY36" fmla="*/ 386449 h 412750"/>
                <a:gd name="connsiteX37" fmla="*/ 1545052 w 1644650"/>
                <a:gd name="connsiteY37" fmla="*/ 382004 h 412750"/>
                <a:gd name="connsiteX38" fmla="*/ 1561562 w 1644650"/>
                <a:gd name="connsiteY38" fmla="*/ 381369 h 412750"/>
                <a:gd name="connsiteX39" fmla="*/ 1607282 w 1644650"/>
                <a:gd name="connsiteY39" fmla="*/ 381369 h 412750"/>
                <a:gd name="connsiteX40" fmla="*/ 1643477 w 1644650"/>
                <a:gd name="connsiteY40" fmla="*/ 392799 h 412750"/>
                <a:gd name="connsiteX41" fmla="*/ 1630777 w 1644650"/>
                <a:gd name="connsiteY41" fmla="*/ 415024 h 412750"/>
                <a:gd name="connsiteX42" fmla="*/ 1548227 w 1644650"/>
                <a:gd name="connsiteY42" fmla="*/ 415024 h 412750"/>
                <a:gd name="connsiteX43" fmla="*/ 822422 w 1644650"/>
                <a:gd name="connsiteY43" fmla="*/ 416294 h 41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44650" h="412750">
                  <a:moveTo>
                    <a:pt x="822422" y="416294"/>
                  </a:moveTo>
                  <a:cubicBezTo>
                    <a:pt x="555087" y="416294"/>
                    <a:pt x="287752" y="416294"/>
                    <a:pt x="21052" y="416294"/>
                  </a:cubicBezTo>
                  <a:cubicBezTo>
                    <a:pt x="3272" y="416294"/>
                    <a:pt x="-3078" y="409944"/>
                    <a:pt x="1367" y="395340"/>
                  </a:cubicBezTo>
                  <a:cubicBezTo>
                    <a:pt x="3907" y="387084"/>
                    <a:pt x="25497" y="376924"/>
                    <a:pt x="33117" y="381369"/>
                  </a:cubicBezTo>
                  <a:cubicBezTo>
                    <a:pt x="49627" y="391529"/>
                    <a:pt x="65502" y="392165"/>
                    <a:pt x="81377" y="381369"/>
                  </a:cubicBezTo>
                  <a:cubicBezTo>
                    <a:pt x="86457" y="378194"/>
                    <a:pt x="90902" y="379465"/>
                    <a:pt x="95347" y="382640"/>
                  </a:cubicBezTo>
                  <a:cubicBezTo>
                    <a:pt x="109952" y="391529"/>
                    <a:pt x="125192" y="392165"/>
                    <a:pt x="139797" y="382640"/>
                  </a:cubicBezTo>
                  <a:cubicBezTo>
                    <a:pt x="145512" y="378829"/>
                    <a:pt x="150592" y="378194"/>
                    <a:pt x="156307" y="382640"/>
                  </a:cubicBezTo>
                  <a:cubicBezTo>
                    <a:pt x="165832" y="388990"/>
                    <a:pt x="175357" y="389624"/>
                    <a:pt x="186787" y="385815"/>
                  </a:cubicBezTo>
                  <a:cubicBezTo>
                    <a:pt x="236317" y="368669"/>
                    <a:pt x="285847" y="351524"/>
                    <a:pt x="335377" y="335015"/>
                  </a:cubicBezTo>
                  <a:cubicBezTo>
                    <a:pt x="345537" y="331840"/>
                    <a:pt x="351252" y="326124"/>
                    <a:pt x="353792" y="315329"/>
                  </a:cubicBezTo>
                  <a:cubicBezTo>
                    <a:pt x="366492" y="270244"/>
                    <a:pt x="380462" y="225794"/>
                    <a:pt x="393797" y="180709"/>
                  </a:cubicBezTo>
                  <a:cubicBezTo>
                    <a:pt x="396337" y="171819"/>
                    <a:pt x="400782" y="164199"/>
                    <a:pt x="408402" y="158484"/>
                  </a:cubicBezTo>
                  <a:cubicBezTo>
                    <a:pt x="448407" y="128639"/>
                    <a:pt x="487777" y="98794"/>
                    <a:pt x="527147" y="68314"/>
                  </a:cubicBezTo>
                  <a:cubicBezTo>
                    <a:pt x="536037" y="61329"/>
                    <a:pt x="541752" y="61329"/>
                    <a:pt x="550642" y="68314"/>
                  </a:cubicBezTo>
                  <a:cubicBezTo>
                    <a:pt x="596362" y="103874"/>
                    <a:pt x="639542" y="142609"/>
                    <a:pt x="683992" y="179440"/>
                  </a:cubicBezTo>
                  <a:cubicBezTo>
                    <a:pt x="692882" y="187059"/>
                    <a:pt x="696692" y="185790"/>
                    <a:pt x="701772" y="176265"/>
                  </a:cubicBezTo>
                  <a:cubicBezTo>
                    <a:pt x="708757" y="162294"/>
                    <a:pt x="717647" y="150229"/>
                    <a:pt x="723997" y="136259"/>
                  </a:cubicBezTo>
                  <a:cubicBezTo>
                    <a:pt x="730347" y="122924"/>
                    <a:pt x="739872" y="116574"/>
                    <a:pt x="753842" y="112764"/>
                  </a:cubicBezTo>
                  <a:cubicBezTo>
                    <a:pt x="767177" y="109589"/>
                    <a:pt x="779877" y="103874"/>
                    <a:pt x="793212" y="101334"/>
                  </a:cubicBezTo>
                  <a:cubicBezTo>
                    <a:pt x="859252" y="89904"/>
                    <a:pt x="910687" y="50534"/>
                    <a:pt x="964027" y="14339"/>
                  </a:cubicBezTo>
                  <a:cubicBezTo>
                    <a:pt x="993872" y="-5981"/>
                    <a:pt x="994507" y="-5981"/>
                    <a:pt x="1018002" y="22594"/>
                  </a:cubicBezTo>
                  <a:cubicBezTo>
                    <a:pt x="1026257" y="32754"/>
                    <a:pt x="1035147" y="42914"/>
                    <a:pt x="1044037" y="52439"/>
                  </a:cubicBezTo>
                  <a:cubicBezTo>
                    <a:pt x="1047212" y="56249"/>
                    <a:pt x="1050387" y="59424"/>
                    <a:pt x="1049752" y="64504"/>
                  </a:cubicBezTo>
                  <a:cubicBezTo>
                    <a:pt x="1047212" y="80379"/>
                    <a:pt x="1057372" y="86729"/>
                    <a:pt x="1068167" y="94349"/>
                  </a:cubicBezTo>
                  <a:cubicBezTo>
                    <a:pt x="1125952" y="132449"/>
                    <a:pt x="1183102" y="171184"/>
                    <a:pt x="1240252" y="209919"/>
                  </a:cubicBezTo>
                  <a:cubicBezTo>
                    <a:pt x="1250412" y="216904"/>
                    <a:pt x="1256762" y="216269"/>
                    <a:pt x="1266922" y="209919"/>
                  </a:cubicBezTo>
                  <a:cubicBezTo>
                    <a:pt x="1284702" y="199124"/>
                    <a:pt x="1292322" y="186424"/>
                    <a:pt x="1290417" y="165469"/>
                  </a:cubicBezTo>
                  <a:cubicBezTo>
                    <a:pt x="1288512" y="150864"/>
                    <a:pt x="1290417" y="136259"/>
                    <a:pt x="1290417" y="121019"/>
                  </a:cubicBezTo>
                  <a:cubicBezTo>
                    <a:pt x="1290417" y="110224"/>
                    <a:pt x="1294862" y="108319"/>
                    <a:pt x="1305022" y="112129"/>
                  </a:cubicBezTo>
                  <a:cubicBezTo>
                    <a:pt x="1327247" y="121019"/>
                    <a:pt x="1347567" y="133719"/>
                    <a:pt x="1371062" y="139434"/>
                  </a:cubicBezTo>
                  <a:cubicBezTo>
                    <a:pt x="1375507" y="140704"/>
                    <a:pt x="1376777" y="145149"/>
                    <a:pt x="1378047" y="148959"/>
                  </a:cubicBezTo>
                  <a:cubicBezTo>
                    <a:pt x="1389477" y="174359"/>
                    <a:pt x="1401542" y="199759"/>
                    <a:pt x="1412337" y="225159"/>
                  </a:cubicBezTo>
                  <a:cubicBezTo>
                    <a:pt x="1419957" y="242940"/>
                    <a:pt x="1416147" y="262624"/>
                    <a:pt x="1416147" y="281040"/>
                  </a:cubicBezTo>
                  <a:cubicBezTo>
                    <a:pt x="1416147" y="295644"/>
                    <a:pt x="1419957" y="307074"/>
                    <a:pt x="1430752" y="317234"/>
                  </a:cubicBezTo>
                  <a:cubicBezTo>
                    <a:pt x="1445357" y="331204"/>
                    <a:pt x="1459327" y="346444"/>
                    <a:pt x="1472027" y="362319"/>
                  </a:cubicBezTo>
                  <a:cubicBezTo>
                    <a:pt x="1482187" y="375654"/>
                    <a:pt x="1496792" y="380099"/>
                    <a:pt x="1511397" y="386449"/>
                  </a:cubicBezTo>
                  <a:cubicBezTo>
                    <a:pt x="1522827" y="391529"/>
                    <a:pt x="1534257" y="388990"/>
                    <a:pt x="1545052" y="382004"/>
                  </a:cubicBezTo>
                  <a:cubicBezTo>
                    <a:pt x="1550767" y="378194"/>
                    <a:pt x="1555847" y="377559"/>
                    <a:pt x="1561562" y="381369"/>
                  </a:cubicBezTo>
                  <a:cubicBezTo>
                    <a:pt x="1576802" y="390894"/>
                    <a:pt x="1592042" y="390894"/>
                    <a:pt x="1607282" y="381369"/>
                  </a:cubicBezTo>
                  <a:cubicBezTo>
                    <a:pt x="1613632" y="377559"/>
                    <a:pt x="1640302" y="386449"/>
                    <a:pt x="1643477" y="392799"/>
                  </a:cubicBezTo>
                  <a:cubicBezTo>
                    <a:pt x="1649192" y="403594"/>
                    <a:pt x="1642842" y="414390"/>
                    <a:pt x="1630777" y="415024"/>
                  </a:cubicBezTo>
                  <a:cubicBezTo>
                    <a:pt x="1603472" y="415024"/>
                    <a:pt x="1576167" y="415024"/>
                    <a:pt x="1548227" y="415024"/>
                  </a:cubicBezTo>
                  <a:cubicBezTo>
                    <a:pt x="1305657" y="416294"/>
                    <a:pt x="1063722" y="416294"/>
                    <a:pt x="822422" y="416294"/>
                  </a:cubicBezTo>
                  <a:close/>
                </a:path>
              </a:pathLst>
            </a:custGeom>
            <a:solidFill>
              <a:srgbClr val="002856"/>
            </a:solidFill>
            <a:ln w="6350" cap="flat">
              <a:noFill/>
              <a:prstDash val="solid"/>
              <a:miter/>
            </a:ln>
          </p:spPr>
          <p:txBody>
            <a:bodyPr rtlCol="0" anchor="ctr"/>
            <a:lstStyle/>
            <a:p>
              <a:endParaRPr lang="en-US"/>
            </a:p>
          </p:txBody>
        </p:sp>
      </p:grpSp>
      <p:sp>
        <p:nvSpPr>
          <p:cNvPr id="8" name="TextBox 7">
            <a:extLst>
              <a:ext uri="{FF2B5EF4-FFF2-40B4-BE49-F238E27FC236}">
                <a16:creationId xmlns:a16="http://schemas.microsoft.com/office/drawing/2014/main" id="{CF056F9B-351C-A200-6C88-208A5A0D9950}"/>
              </a:ext>
            </a:extLst>
          </p:cNvPr>
          <p:cNvSpPr txBox="1"/>
          <p:nvPr/>
        </p:nvSpPr>
        <p:spPr>
          <a:xfrm>
            <a:off x="457200" y="2063822"/>
            <a:ext cx="1620000" cy="720000"/>
          </a:xfrm>
          <a:prstGeom prst="rect">
            <a:avLst/>
          </a:prstGeom>
          <a:solidFill>
            <a:srgbClr val="6F7878"/>
          </a:solidFill>
        </p:spPr>
        <p:txBody>
          <a:bodyPr wrap="square" lIns="0" rtlCol="0" anchor="ctr" anchorCtr="1">
            <a:noAutofit/>
          </a:bodyPr>
          <a:lstStyle/>
          <a:p>
            <a:r>
              <a:rPr lang="en-US" dirty="0">
                <a:solidFill>
                  <a:schemeClr val="bg1"/>
                </a:solidFill>
              </a:rPr>
              <a:t>Waterline </a:t>
            </a:r>
            <a:br>
              <a:rPr lang="en-US" dirty="0">
                <a:solidFill>
                  <a:schemeClr val="bg1"/>
                </a:solidFill>
              </a:rPr>
            </a:br>
            <a:r>
              <a:rPr lang="en-US" dirty="0">
                <a:solidFill>
                  <a:schemeClr val="bg1"/>
                </a:solidFill>
              </a:rPr>
              <a:t>of Visibility</a:t>
            </a:r>
          </a:p>
        </p:txBody>
      </p:sp>
      <p:sp>
        <p:nvSpPr>
          <p:cNvPr id="9" name="TextBox 8">
            <a:extLst>
              <a:ext uri="{FF2B5EF4-FFF2-40B4-BE49-F238E27FC236}">
                <a16:creationId xmlns:a16="http://schemas.microsoft.com/office/drawing/2014/main" id="{9E118E17-2C82-371E-E18E-7F1B83324E19}"/>
              </a:ext>
            </a:extLst>
          </p:cNvPr>
          <p:cNvSpPr txBox="1"/>
          <p:nvPr/>
        </p:nvSpPr>
        <p:spPr>
          <a:xfrm>
            <a:off x="5175221" y="2038208"/>
            <a:ext cx="1839970" cy="246221"/>
          </a:xfrm>
          <a:prstGeom prst="rect">
            <a:avLst/>
          </a:prstGeom>
          <a:noFill/>
        </p:spPr>
        <p:txBody>
          <a:bodyPr wrap="square" lIns="0" tIns="0" rIns="0" bIns="0" rtlCol="0" anchor="ctr" anchorCtr="1">
            <a:spAutoFit/>
          </a:bodyPr>
          <a:lstStyle/>
          <a:p>
            <a:pPr algn="ctr"/>
            <a:r>
              <a:rPr lang="en-US" sz="1600" b="1" dirty="0">
                <a:solidFill>
                  <a:schemeClr val="bg1"/>
                </a:solidFill>
              </a:rPr>
              <a:t>Subscription Fees</a:t>
            </a:r>
          </a:p>
        </p:txBody>
      </p:sp>
      <p:sp>
        <p:nvSpPr>
          <p:cNvPr id="23" name="TextBox 22">
            <a:extLst>
              <a:ext uri="{FF2B5EF4-FFF2-40B4-BE49-F238E27FC236}">
                <a16:creationId xmlns:a16="http://schemas.microsoft.com/office/drawing/2014/main" id="{3C5E1E14-7655-B697-BDE0-CD01F0D68C2F}"/>
              </a:ext>
            </a:extLst>
          </p:cNvPr>
          <p:cNvSpPr txBox="1"/>
          <p:nvPr/>
        </p:nvSpPr>
        <p:spPr>
          <a:xfrm>
            <a:off x="8707120" y="3722006"/>
            <a:ext cx="3026093" cy="642379"/>
          </a:xfrm>
          <a:prstGeom prst="rect">
            <a:avLst/>
          </a:prstGeom>
          <a:solidFill>
            <a:srgbClr val="009AD7"/>
          </a:solidFill>
        </p:spPr>
        <p:txBody>
          <a:bodyPr wrap="square" lIns="0" tIns="0" rIns="0" bIns="0" rtlCol="0" anchor="ctr" anchorCtr="1">
            <a:noAutofit/>
          </a:bodyPr>
          <a:lstStyle/>
          <a:p>
            <a:r>
              <a:rPr lang="en-US" b="1" dirty="0">
                <a:solidFill>
                  <a:schemeClr val="bg1"/>
                </a:solidFill>
              </a:rPr>
              <a:t>Up to 50% of total costs!</a:t>
            </a:r>
          </a:p>
        </p:txBody>
      </p:sp>
      <p:sp>
        <p:nvSpPr>
          <p:cNvPr id="24" name="Right Arrow 112">
            <a:extLst>
              <a:ext uri="{FF2B5EF4-FFF2-40B4-BE49-F238E27FC236}">
                <a16:creationId xmlns:a16="http://schemas.microsoft.com/office/drawing/2014/main" id="{361990EB-6E3F-61C4-10B6-C3352EE376D7}"/>
              </a:ext>
            </a:extLst>
          </p:cNvPr>
          <p:cNvSpPr/>
          <p:nvPr/>
        </p:nvSpPr>
        <p:spPr>
          <a:xfrm flipH="1">
            <a:off x="7975600" y="3839662"/>
            <a:ext cx="551414" cy="407066"/>
          </a:xfrm>
          <a:prstGeom prst="rightArrow">
            <a:avLst/>
          </a:prstGeom>
          <a:solidFill>
            <a:srgbClr val="6F787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TextBox 11">
            <a:extLst>
              <a:ext uri="{FF2B5EF4-FFF2-40B4-BE49-F238E27FC236}">
                <a16:creationId xmlns:a16="http://schemas.microsoft.com/office/drawing/2014/main" id="{8A17F155-4FDF-4805-2E7B-4DFED3B318ED}"/>
              </a:ext>
            </a:extLst>
          </p:cNvPr>
          <p:cNvSpPr txBox="1"/>
          <p:nvPr/>
        </p:nvSpPr>
        <p:spPr>
          <a:xfrm>
            <a:off x="6095206" y="3317997"/>
            <a:ext cx="1180766" cy="246221"/>
          </a:xfrm>
          <a:prstGeom prst="rect">
            <a:avLst/>
          </a:prstGeom>
          <a:noFill/>
        </p:spPr>
        <p:txBody>
          <a:bodyPr wrap="square" lIns="0" tIns="0" rIns="0" bIns="0" rtlCol="0" anchor="ctr" anchorCtr="1">
            <a:spAutoFit/>
          </a:bodyPr>
          <a:lstStyle/>
          <a:p>
            <a:pPr algn="ctr"/>
            <a:r>
              <a:rPr lang="en-US" sz="1600" b="1" dirty="0"/>
              <a:t>Integrations</a:t>
            </a:r>
          </a:p>
        </p:txBody>
      </p:sp>
      <p:sp>
        <p:nvSpPr>
          <p:cNvPr id="14" name="TextBox 13">
            <a:extLst>
              <a:ext uri="{FF2B5EF4-FFF2-40B4-BE49-F238E27FC236}">
                <a16:creationId xmlns:a16="http://schemas.microsoft.com/office/drawing/2014/main" id="{DAADF0A5-5F0F-2C22-C4F2-3847BD25BFD5}"/>
              </a:ext>
            </a:extLst>
          </p:cNvPr>
          <p:cNvSpPr txBox="1"/>
          <p:nvPr/>
        </p:nvSpPr>
        <p:spPr>
          <a:xfrm>
            <a:off x="5211484" y="4872987"/>
            <a:ext cx="1474105" cy="246221"/>
          </a:xfrm>
          <a:prstGeom prst="rect">
            <a:avLst/>
          </a:prstGeom>
          <a:noFill/>
        </p:spPr>
        <p:txBody>
          <a:bodyPr wrap="square" lIns="0" tIns="0" rIns="0" bIns="0" rtlCol="0" anchor="ctr" anchorCtr="1">
            <a:spAutoFit/>
          </a:bodyPr>
          <a:lstStyle/>
          <a:p>
            <a:pPr algn="ctr"/>
            <a:r>
              <a:rPr lang="en-US" sz="1600" b="1" dirty="0"/>
              <a:t>Customization</a:t>
            </a:r>
          </a:p>
        </p:txBody>
      </p:sp>
      <p:sp>
        <p:nvSpPr>
          <p:cNvPr id="15" name="TextBox 14">
            <a:extLst>
              <a:ext uri="{FF2B5EF4-FFF2-40B4-BE49-F238E27FC236}">
                <a16:creationId xmlns:a16="http://schemas.microsoft.com/office/drawing/2014/main" id="{E40AB9C0-2943-D96D-023B-F44A1AD74096}"/>
              </a:ext>
            </a:extLst>
          </p:cNvPr>
          <p:cNvSpPr txBox="1"/>
          <p:nvPr/>
        </p:nvSpPr>
        <p:spPr>
          <a:xfrm>
            <a:off x="4706785" y="3533598"/>
            <a:ext cx="1208315" cy="492443"/>
          </a:xfrm>
          <a:prstGeom prst="rect">
            <a:avLst/>
          </a:prstGeom>
          <a:noFill/>
        </p:spPr>
        <p:txBody>
          <a:bodyPr wrap="square" lIns="0" tIns="0" rIns="0" bIns="0" rtlCol="0" anchor="ctr" anchorCtr="1">
            <a:spAutoFit/>
          </a:bodyPr>
          <a:lstStyle/>
          <a:p>
            <a:pPr algn="ctr"/>
            <a:r>
              <a:rPr lang="en-US" sz="1600" b="1" dirty="0"/>
              <a:t>Supplier support</a:t>
            </a:r>
          </a:p>
        </p:txBody>
      </p:sp>
      <p:sp>
        <p:nvSpPr>
          <p:cNvPr id="16" name="TextBox 15">
            <a:extLst>
              <a:ext uri="{FF2B5EF4-FFF2-40B4-BE49-F238E27FC236}">
                <a16:creationId xmlns:a16="http://schemas.microsoft.com/office/drawing/2014/main" id="{FDB2DB5C-86F6-E136-6CB3-7572C5DC1D1F}"/>
              </a:ext>
            </a:extLst>
          </p:cNvPr>
          <p:cNvSpPr txBox="1"/>
          <p:nvPr/>
        </p:nvSpPr>
        <p:spPr>
          <a:xfrm>
            <a:off x="4965367" y="2860110"/>
            <a:ext cx="890500" cy="246221"/>
          </a:xfrm>
          <a:prstGeom prst="rect">
            <a:avLst/>
          </a:prstGeom>
          <a:noFill/>
        </p:spPr>
        <p:txBody>
          <a:bodyPr wrap="square" lIns="0" tIns="0" rIns="0" bIns="0" rtlCol="0" anchor="ctr" anchorCtr="1">
            <a:spAutoFit/>
          </a:bodyPr>
          <a:lstStyle/>
          <a:p>
            <a:pPr algn="ctr"/>
            <a:r>
              <a:rPr lang="en-US" sz="1600" b="1" dirty="0"/>
              <a:t>Training</a:t>
            </a:r>
          </a:p>
        </p:txBody>
      </p:sp>
      <p:sp>
        <p:nvSpPr>
          <p:cNvPr id="25" name="TextBox 24">
            <a:extLst>
              <a:ext uri="{FF2B5EF4-FFF2-40B4-BE49-F238E27FC236}">
                <a16:creationId xmlns:a16="http://schemas.microsoft.com/office/drawing/2014/main" id="{E3ECE704-36A8-3C35-D9F0-D735A3E298E5}"/>
              </a:ext>
            </a:extLst>
          </p:cNvPr>
          <p:cNvSpPr txBox="1"/>
          <p:nvPr/>
        </p:nvSpPr>
        <p:spPr>
          <a:xfrm>
            <a:off x="6181177" y="2702295"/>
            <a:ext cx="1208315" cy="246221"/>
          </a:xfrm>
          <a:prstGeom prst="rect">
            <a:avLst/>
          </a:prstGeom>
          <a:noFill/>
        </p:spPr>
        <p:txBody>
          <a:bodyPr wrap="square" lIns="0" tIns="0" rIns="0" bIns="0" rtlCol="0" anchor="ctr" anchorCtr="1">
            <a:spAutoFit/>
          </a:bodyPr>
          <a:lstStyle/>
          <a:p>
            <a:pPr algn="ctr"/>
            <a:r>
              <a:rPr lang="en-US" sz="1600" b="1" dirty="0"/>
              <a:t># suppliers</a:t>
            </a:r>
          </a:p>
        </p:txBody>
      </p:sp>
      <p:sp>
        <p:nvSpPr>
          <p:cNvPr id="26" name="TextBox 25">
            <a:extLst>
              <a:ext uri="{FF2B5EF4-FFF2-40B4-BE49-F238E27FC236}">
                <a16:creationId xmlns:a16="http://schemas.microsoft.com/office/drawing/2014/main" id="{D934CA10-E6EF-D1B2-1923-DA2A28AB7B4A}"/>
              </a:ext>
            </a:extLst>
          </p:cNvPr>
          <p:cNvSpPr txBox="1"/>
          <p:nvPr/>
        </p:nvSpPr>
        <p:spPr>
          <a:xfrm>
            <a:off x="5948536" y="3923740"/>
            <a:ext cx="1180766" cy="492443"/>
          </a:xfrm>
          <a:prstGeom prst="rect">
            <a:avLst/>
          </a:prstGeom>
          <a:noFill/>
        </p:spPr>
        <p:txBody>
          <a:bodyPr wrap="square" lIns="0" tIns="0" rIns="0" bIns="0" rtlCol="0" anchor="ctr" anchorCtr="1">
            <a:spAutoFit/>
          </a:bodyPr>
          <a:lstStyle/>
          <a:p>
            <a:pPr algn="ctr"/>
            <a:r>
              <a:rPr lang="en-US" sz="1600" b="1" dirty="0"/>
              <a:t>Data Validation</a:t>
            </a:r>
          </a:p>
        </p:txBody>
      </p:sp>
      <p:sp>
        <p:nvSpPr>
          <p:cNvPr id="27" name="TextBox 26">
            <a:extLst>
              <a:ext uri="{FF2B5EF4-FFF2-40B4-BE49-F238E27FC236}">
                <a16:creationId xmlns:a16="http://schemas.microsoft.com/office/drawing/2014/main" id="{B795ED94-B21C-BC04-44A2-A7937DE3FD3A}"/>
              </a:ext>
            </a:extLst>
          </p:cNvPr>
          <p:cNvSpPr txBox="1"/>
          <p:nvPr/>
        </p:nvSpPr>
        <p:spPr>
          <a:xfrm>
            <a:off x="5118814" y="5268754"/>
            <a:ext cx="1474105" cy="246221"/>
          </a:xfrm>
          <a:prstGeom prst="rect">
            <a:avLst/>
          </a:prstGeom>
          <a:noFill/>
        </p:spPr>
        <p:txBody>
          <a:bodyPr wrap="square" lIns="0" tIns="0" rIns="0" bIns="0" rtlCol="0" anchor="ctr" anchorCtr="1">
            <a:spAutoFit/>
          </a:bodyPr>
          <a:lstStyle/>
          <a:p>
            <a:pPr algn="ctr"/>
            <a:r>
              <a:rPr lang="en-US" sz="1600" b="1" dirty="0"/>
              <a:t>Etc.</a:t>
            </a:r>
          </a:p>
        </p:txBody>
      </p:sp>
      <p:sp>
        <p:nvSpPr>
          <p:cNvPr id="28" name="TextBox 27">
            <a:extLst>
              <a:ext uri="{FF2B5EF4-FFF2-40B4-BE49-F238E27FC236}">
                <a16:creationId xmlns:a16="http://schemas.microsoft.com/office/drawing/2014/main" id="{797100E1-1E23-0F43-087F-C0815D4864B3}"/>
              </a:ext>
            </a:extLst>
          </p:cNvPr>
          <p:cNvSpPr txBox="1"/>
          <p:nvPr/>
        </p:nvSpPr>
        <p:spPr>
          <a:xfrm>
            <a:off x="4935882" y="4265309"/>
            <a:ext cx="919985" cy="492443"/>
          </a:xfrm>
          <a:prstGeom prst="rect">
            <a:avLst/>
          </a:prstGeom>
          <a:noFill/>
        </p:spPr>
        <p:txBody>
          <a:bodyPr wrap="square" lIns="0" tIns="0" rIns="0" bIns="0" rtlCol="0" anchor="ctr" anchorCtr="1">
            <a:spAutoFit/>
          </a:bodyPr>
          <a:lstStyle/>
          <a:p>
            <a:pPr algn="ctr"/>
            <a:r>
              <a:rPr lang="en-US" sz="1600" b="1" dirty="0"/>
              <a:t>User seats</a:t>
            </a:r>
          </a:p>
        </p:txBody>
      </p:sp>
    </p:spTree>
    <p:extLst>
      <p:ext uri="{BB962C8B-B14F-4D97-AF65-F5344CB8AC3E}">
        <p14:creationId xmlns:p14="http://schemas.microsoft.com/office/powerpoint/2010/main" val="41157863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5A34D3-9051-8E69-08A5-50753CB7F1F2}"/>
              </a:ext>
            </a:extLst>
          </p:cNvPr>
          <p:cNvSpPr/>
          <p:nvPr/>
        </p:nvSpPr>
        <p:spPr>
          <a:xfrm>
            <a:off x="6095205" y="1427707"/>
            <a:ext cx="5037083" cy="603036"/>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Based on ambition and oversight</a:t>
            </a:r>
          </a:p>
        </p:txBody>
      </p:sp>
      <p:sp>
        <p:nvSpPr>
          <p:cNvPr id="2" name="Title 1">
            <a:extLst>
              <a:ext uri="{FF2B5EF4-FFF2-40B4-BE49-F238E27FC236}">
                <a16:creationId xmlns:a16="http://schemas.microsoft.com/office/drawing/2014/main" id="{A79D054A-CAA3-9047-5465-E70834377554}"/>
              </a:ext>
            </a:extLst>
          </p:cNvPr>
          <p:cNvSpPr>
            <a:spLocks noGrp="1"/>
          </p:cNvSpPr>
          <p:nvPr>
            <p:ph type="title"/>
          </p:nvPr>
        </p:nvSpPr>
        <p:spPr/>
        <p:txBody>
          <a:bodyPr/>
          <a:lstStyle/>
          <a:p>
            <a:r>
              <a:rPr lang="en-US" dirty="0"/>
              <a:t>Six Steps for Choosing a Solution</a:t>
            </a:r>
          </a:p>
        </p:txBody>
      </p:sp>
      <p:sp>
        <p:nvSpPr>
          <p:cNvPr id="3" name="Rounded Rectangle">
            <a:extLst>
              <a:ext uri="{FF2B5EF4-FFF2-40B4-BE49-F238E27FC236}">
                <a16:creationId xmlns:a16="http://schemas.microsoft.com/office/drawing/2014/main" id="{7033703F-598F-A8DF-D60E-B749FE8B5DC4}"/>
              </a:ext>
            </a:extLst>
          </p:cNvPr>
          <p:cNvSpPr/>
          <p:nvPr/>
        </p:nvSpPr>
        <p:spPr>
          <a:xfrm rot="5400000">
            <a:off x="-547063" y="2480076"/>
            <a:ext cx="3203716" cy="840705"/>
          </a:xfrm>
          <a:prstGeom prst="roundRect">
            <a:avLst>
              <a:gd name="adj" fmla="val 50000"/>
            </a:avLst>
          </a:prstGeom>
          <a:solidFill>
            <a:srgbClr val="E6E6E6"/>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 name="Rounded Rectangle">
            <a:extLst>
              <a:ext uri="{FF2B5EF4-FFF2-40B4-BE49-F238E27FC236}">
                <a16:creationId xmlns:a16="http://schemas.microsoft.com/office/drawing/2014/main" id="{FFADFB16-DD57-792E-6F10-64C0A5759E6A}"/>
              </a:ext>
            </a:extLst>
          </p:cNvPr>
          <p:cNvSpPr/>
          <p:nvPr/>
        </p:nvSpPr>
        <p:spPr>
          <a:xfrm rot="16200000">
            <a:off x="-1395664" y="3310445"/>
            <a:ext cx="4864456" cy="840705"/>
          </a:xfrm>
          <a:prstGeom prst="roundRect">
            <a:avLst>
              <a:gd name="adj" fmla="val 50000"/>
            </a:avLst>
          </a:prstGeom>
          <a:ln w="25400">
            <a:solidFill>
              <a:srgbClr val="E6E5E6"/>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Circle">
            <a:extLst>
              <a:ext uri="{FF2B5EF4-FFF2-40B4-BE49-F238E27FC236}">
                <a16:creationId xmlns:a16="http://schemas.microsoft.com/office/drawing/2014/main" id="{33929DA1-BC04-9308-688F-5051A6CF0F92}"/>
              </a:ext>
            </a:extLst>
          </p:cNvPr>
          <p:cNvSpPr/>
          <p:nvPr/>
        </p:nvSpPr>
        <p:spPr>
          <a:xfrm>
            <a:off x="709030" y="1401692"/>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1" name="Circle">
            <a:extLst>
              <a:ext uri="{FF2B5EF4-FFF2-40B4-BE49-F238E27FC236}">
                <a16:creationId xmlns:a16="http://schemas.microsoft.com/office/drawing/2014/main" id="{468F8030-31DE-CC51-AABB-B66A86C15DF8}"/>
              </a:ext>
            </a:extLst>
          </p:cNvPr>
          <p:cNvSpPr/>
          <p:nvPr/>
        </p:nvSpPr>
        <p:spPr>
          <a:xfrm>
            <a:off x="727261" y="217862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2" name="TextBox 11">
            <a:extLst>
              <a:ext uri="{FF2B5EF4-FFF2-40B4-BE49-F238E27FC236}">
                <a16:creationId xmlns:a16="http://schemas.microsoft.com/office/drawing/2014/main" id="{60318794-0530-77B6-735C-0EECB6783680}"/>
              </a:ext>
            </a:extLst>
          </p:cNvPr>
          <p:cNvSpPr txBox="1"/>
          <p:nvPr/>
        </p:nvSpPr>
        <p:spPr>
          <a:xfrm>
            <a:off x="1555071" y="2321487"/>
            <a:ext cx="3471499" cy="369332"/>
          </a:xfrm>
          <a:prstGeom prst="rect">
            <a:avLst/>
          </a:prstGeom>
          <a:noFill/>
        </p:spPr>
        <p:txBody>
          <a:bodyPr wrap="square">
            <a:spAutoFit/>
          </a:bodyPr>
          <a:lstStyle/>
          <a:p>
            <a:pPr>
              <a:spcAft>
                <a:spcPts val="600"/>
              </a:spcAft>
            </a:pPr>
            <a:r>
              <a:rPr lang="en-US" dirty="0">
                <a:solidFill>
                  <a:srgbClr val="002856"/>
                </a:solidFill>
                <a:latin typeface="+mj-lt"/>
              </a:rPr>
              <a:t>Shortlist Vendors</a:t>
            </a:r>
          </a:p>
        </p:txBody>
      </p:sp>
      <p:sp>
        <p:nvSpPr>
          <p:cNvPr id="15" name="TextBox 14">
            <a:extLst>
              <a:ext uri="{FF2B5EF4-FFF2-40B4-BE49-F238E27FC236}">
                <a16:creationId xmlns:a16="http://schemas.microsoft.com/office/drawing/2014/main" id="{636181A4-CBE7-8ABE-9443-C43C1AB59F21}"/>
              </a:ext>
            </a:extLst>
          </p:cNvPr>
          <p:cNvSpPr txBox="1"/>
          <p:nvPr/>
        </p:nvSpPr>
        <p:spPr>
          <a:xfrm>
            <a:off x="1555071" y="3098415"/>
            <a:ext cx="3471499" cy="369332"/>
          </a:xfrm>
          <a:prstGeom prst="rect">
            <a:avLst/>
          </a:prstGeom>
          <a:noFill/>
        </p:spPr>
        <p:txBody>
          <a:bodyPr wrap="square">
            <a:spAutoFit/>
          </a:bodyPr>
          <a:lstStyle/>
          <a:p>
            <a:pPr>
              <a:spcAft>
                <a:spcPts val="600"/>
              </a:spcAft>
            </a:pPr>
            <a:r>
              <a:rPr lang="en-US" dirty="0">
                <a:solidFill>
                  <a:srgbClr val="002856"/>
                </a:solidFill>
                <a:latin typeface="+mj-lt"/>
              </a:rPr>
              <a:t>Launch an Effective RFP</a:t>
            </a:r>
          </a:p>
        </p:txBody>
      </p:sp>
      <p:sp>
        <p:nvSpPr>
          <p:cNvPr id="18" name="TextBox 17">
            <a:extLst>
              <a:ext uri="{FF2B5EF4-FFF2-40B4-BE49-F238E27FC236}">
                <a16:creationId xmlns:a16="http://schemas.microsoft.com/office/drawing/2014/main" id="{8E593E94-D1EE-D866-9617-7C71A2AB5AA1}"/>
              </a:ext>
            </a:extLst>
          </p:cNvPr>
          <p:cNvSpPr txBox="1"/>
          <p:nvPr/>
        </p:nvSpPr>
        <p:spPr>
          <a:xfrm>
            <a:off x="1555071" y="3869517"/>
            <a:ext cx="3524672" cy="369332"/>
          </a:xfrm>
          <a:prstGeom prst="rect">
            <a:avLst/>
          </a:prstGeom>
          <a:noFill/>
        </p:spPr>
        <p:txBody>
          <a:bodyPr wrap="square">
            <a:spAutoFit/>
          </a:bodyPr>
          <a:lstStyle/>
          <a:p>
            <a:pPr>
              <a:spcAft>
                <a:spcPts val="600"/>
              </a:spcAft>
            </a:pPr>
            <a:r>
              <a:rPr lang="en-US" dirty="0">
                <a:solidFill>
                  <a:srgbClr val="002856"/>
                </a:solidFill>
                <a:latin typeface="+mj-lt"/>
              </a:rPr>
              <a:t>Uncover the Truth (Demo)</a:t>
            </a:r>
          </a:p>
        </p:txBody>
      </p:sp>
      <p:sp>
        <p:nvSpPr>
          <p:cNvPr id="21" name="TextBox 20">
            <a:extLst>
              <a:ext uri="{FF2B5EF4-FFF2-40B4-BE49-F238E27FC236}">
                <a16:creationId xmlns:a16="http://schemas.microsoft.com/office/drawing/2014/main" id="{3BFE8F3A-6BC4-8A6E-B466-D58F73AFB671}"/>
              </a:ext>
            </a:extLst>
          </p:cNvPr>
          <p:cNvSpPr txBox="1"/>
          <p:nvPr/>
        </p:nvSpPr>
        <p:spPr>
          <a:xfrm>
            <a:off x="1555071" y="4706529"/>
            <a:ext cx="4036104" cy="369332"/>
          </a:xfrm>
          <a:prstGeom prst="rect">
            <a:avLst/>
          </a:prstGeom>
          <a:noFill/>
        </p:spPr>
        <p:txBody>
          <a:bodyPr wrap="square">
            <a:spAutoFit/>
          </a:bodyPr>
          <a:lstStyle/>
          <a:p>
            <a:pPr>
              <a:spcAft>
                <a:spcPts val="600"/>
              </a:spcAft>
            </a:pPr>
            <a:r>
              <a:rPr lang="en-US" dirty="0">
                <a:solidFill>
                  <a:srgbClr val="002856"/>
                </a:solidFill>
                <a:latin typeface="+mj-lt"/>
              </a:rPr>
              <a:t>Run Due Diligence</a:t>
            </a:r>
          </a:p>
        </p:txBody>
      </p:sp>
      <p:sp>
        <p:nvSpPr>
          <p:cNvPr id="24" name="TextBox 23">
            <a:extLst>
              <a:ext uri="{FF2B5EF4-FFF2-40B4-BE49-F238E27FC236}">
                <a16:creationId xmlns:a16="http://schemas.microsoft.com/office/drawing/2014/main" id="{9CC7C3F8-7B30-8780-ED46-2665043902D5}"/>
              </a:ext>
            </a:extLst>
          </p:cNvPr>
          <p:cNvSpPr txBox="1"/>
          <p:nvPr/>
        </p:nvSpPr>
        <p:spPr>
          <a:xfrm>
            <a:off x="1555071" y="5506211"/>
            <a:ext cx="4059948" cy="369332"/>
          </a:xfrm>
          <a:prstGeom prst="rect">
            <a:avLst/>
          </a:prstGeom>
          <a:noFill/>
        </p:spPr>
        <p:txBody>
          <a:bodyPr wrap="square">
            <a:spAutoFit/>
          </a:bodyPr>
          <a:lstStyle/>
          <a:p>
            <a:pPr>
              <a:spcAft>
                <a:spcPts val="600"/>
              </a:spcAft>
            </a:pPr>
            <a:r>
              <a:rPr lang="en-US" dirty="0">
                <a:solidFill>
                  <a:srgbClr val="002856"/>
                </a:solidFill>
                <a:latin typeface="+mj-lt"/>
              </a:rPr>
              <a:t>Review Commercials</a:t>
            </a:r>
          </a:p>
        </p:txBody>
      </p:sp>
      <p:sp>
        <p:nvSpPr>
          <p:cNvPr id="4" name="Circle">
            <a:extLst>
              <a:ext uri="{FF2B5EF4-FFF2-40B4-BE49-F238E27FC236}">
                <a16:creationId xmlns:a16="http://schemas.microsoft.com/office/drawing/2014/main" id="{41D56D05-FB7A-D148-50F1-6C48FE67AA8F}"/>
              </a:ext>
            </a:extLst>
          </p:cNvPr>
          <p:cNvSpPr/>
          <p:nvPr/>
        </p:nvSpPr>
        <p:spPr>
          <a:xfrm>
            <a:off x="709029" y="2955548"/>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24636839-AEA3-7800-7227-9746E7658341}"/>
              </a:ext>
            </a:extLst>
          </p:cNvPr>
          <p:cNvSpPr/>
          <p:nvPr/>
        </p:nvSpPr>
        <p:spPr>
          <a:xfrm>
            <a:off x="727261" y="3728750"/>
            <a:ext cx="655067" cy="655067"/>
          </a:xfrm>
          <a:prstGeom prst="ellipse">
            <a:avLst/>
          </a:prstGeom>
          <a:solidFill>
            <a:srgbClr val="FFFF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1" name="Circle">
            <a:extLst>
              <a:ext uri="{FF2B5EF4-FFF2-40B4-BE49-F238E27FC236}">
                <a16:creationId xmlns:a16="http://schemas.microsoft.com/office/drawing/2014/main" id="{59B71DA1-F66A-83D9-06E6-A5A93BF10A82}"/>
              </a:ext>
            </a:extLst>
          </p:cNvPr>
          <p:cNvSpPr/>
          <p:nvPr/>
        </p:nvSpPr>
        <p:spPr>
          <a:xfrm>
            <a:off x="735044" y="1427707"/>
            <a:ext cx="603036" cy="603036"/>
          </a:xfrm>
          <a:prstGeom prst="ellipse">
            <a:avLst/>
          </a:prstGeom>
          <a:solidFill>
            <a:srgbClr val="002856"/>
          </a:solidFill>
          <a:ln w="12700">
            <a:miter lim="400000"/>
          </a:ln>
        </p:spPr>
        <p:txBody>
          <a:bodyPr lIns="0" tIns="0" rIns="0" bIns="0" anchor="ctr"/>
          <a:lstStyle/>
          <a:p>
            <a:pPr algn="ctr"/>
            <a:r>
              <a:rPr lang="en-US" sz="3200" b="1" dirty="0">
                <a:solidFill>
                  <a:srgbClr val="FFFFFF"/>
                </a:solidFill>
                <a:latin typeface="+mj-lt"/>
              </a:rPr>
              <a:t>1</a:t>
            </a:r>
            <a:endParaRPr sz="3200" b="1" dirty="0">
              <a:solidFill>
                <a:srgbClr val="FFFFFF"/>
              </a:solidFill>
              <a:latin typeface="+mj-lt"/>
            </a:endParaRPr>
          </a:p>
        </p:txBody>
      </p:sp>
      <p:sp>
        <p:nvSpPr>
          <p:cNvPr id="16" name="Isosceles Triangle 15">
            <a:extLst>
              <a:ext uri="{FF2B5EF4-FFF2-40B4-BE49-F238E27FC236}">
                <a16:creationId xmlns:a16="http://schemas.microsoft.com/office/drawing/2014/main" id="{C7256DB8-C869-1E30-DDC3-A11AB967E14E}"/>
              </a:ext>
            </a:extLst>
          </p:cNvPr>
          <p:cNvSpPr/>
          <p:nvPr/>
        </p:nvSpPr>
        <p:spPr>
          <a:xfrm rot="5400000">
            <a:off x="5987476" y="1544901"/>
            <a:ext cx="584791" cy="369332"/>
          </a:xfrm>
          <a:prstGeom prst="triangl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Rectangle 13">
            <a:extLst>
              <a:ext uri="{FF2B5EF4-FFF2-40B4-BE49-F238E27FC236}">
                <a16:creationId xmlns:a16="http://schemas.microsoft.com/office/drawing/2014/main" id="{25993A3F-A1D3-7B1F-735F-8185F7D4AC97}"/>
              </a:ext>
            </a:extLst>
          </p:cNvPr>
          <p:cNvSpPr/>
          <p:nvPr/>
        </p:nvSpPr>
        <p:spPr>
          <a:xfrm>
            <a:off x="1555071" y="2204635"/>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Rectangle 18">
            <a:extLst>
              <a:ext uri="{FF2B5EF4-FFF2-40B4-BE49-F238E27FC236}">
                <a16:creationId xmlns:a16="http://schemas.microsoft.com/office/drawing/2014/main" id="{FDDEB21A-6F2B-D325-4D77-05BE7647A9FE}"/>
              </a:ext>
            </a:extLst>
          </p:cNvPr>
          <p:cNvSpPr/>
          <p:nvPr/>
        </p:nvSpPr>
        <p:spPr>
          <a:xfrm>
            <a:off x="1555071" y="1427707"/>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Circle">
            <a:extLst>
              <a:ext uri="{FF2B5EF4-FFF2-40B4-BE49-F238E27FC236}">
                <a16:creationId xmlns:a16="http://schemas.microsoft.com/office/drawing/2014/main" id="{5E419DFE-3A2C-B075-89A9-1A83970E027B}"/>
              </a:ext>
            </a:extLst>
          </p:cNvPr>
          <p:cNvSpPr/>
          <p:nvPr/>
        </p:nvSpPr>
        <p:spPr>
          <a:xfrm>
            <a:off x="751038" y="2201077"/>
            <a:ext cx="603036" cy="603036"/>
          </a:xfrm>
          <a:prstGeom prst="ellipse">
            <a:avLst/>
          </a:prstGeom>
          <a:solidFill>
            <a:srgbClr val="002856"/>
          </a:solidFill>
          <a:ln w="12700">
            <a:miter lim="400000"/>
          </a:ln>
        </p:spPr>
        <p:txBody>
          <a:bodyPr lIns="0" tIns="0" rIns="0" bIns="0" anchor="ctr"/>
          <a:lstStyle/>
          <a:p>
            <a:pPr algn="ctr"/>
            <a:r>
              <a:rPr lang="en-US" sz="3200" b="1" dirty="0">
                <a:solidFill>
                  <a:srgbClr val="FFFFFF"/>
                </a:solidFill>
                <a:latin typeface="+mj-lt"/>
              </a:rPr>
              <a:t>2</a:t>
            </a:r>
            <a:endParaRPr sz="3200" b="1" dirty="0">
              <a:solidFill>
                <a:srgbClr val="FFFFFF"/>
              </a:solidFill>
              <a:latin typeface="+mj-lt"/>
            </a:endParaRPr>
          </a:p>
        </p:txBody>
      </p:sp>
      <p:sp>
        <p:nvSpPr>
          <p:cNvPr id="13" name="Rectangle 12">
            <a:extLst>
              <a:ext uri="{FF2B5EF4-FFF2-40B4-BE49-F238E27FC236}">
                <a16:creationId xmlns:a16="http://schemas.microsoft.com/office/drawing/2014/main" id="{60F11323-D9C8-6A75-8F3E-2E32D6733B89}"/>
              </a:ext>
            </a:extLst>
          </p:cNvPr>
          <p:cNvSpPr/>
          <p:nvPr/>
        </p:nvSpPr>
        <p:spPr>
          <a:xfrm>
            <a:off x="6095205" y="2204635"/>
            <a:ext cx="5037083" cy="603036"/>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Prioritize peer and supplier inputs</a:t>
            </a:r>
          </a:p>
        </p:txBody>
      </p:sp>
      <p:sp>
        <p:nvSpPr>
          <p:cNvPr id="20" name="Isosceles Triangle 19">
            <a:extLst>
              <a:ext uri="{FF2B5EF4-FFF2-40B4-BE49-F238E27FC236}">
                <a16:creationId xmlns:a16="http://schemas.microsoft.com/office/drawing/2014/main" id="{17D2973B-F740-29BF-4F0C-A9CE5CE0AEAE}"/>
              </a:ext>
            </a:extLst>
          </p:cNvPr>
          <p:cNvSpPr/>
          <p:nvPr/>
        </p:nvSpPr>
        <p:spPr>
          <a:xfrm rot="5400000">
            <a:off x="5987476" y="2321829"/>
            <a:ext cx="584791" cy="369332"/>
          </a:xfrm>
          <a:prstGeom prst="triangl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 name="Circle">
            <a:extLst>
              <a:ext uri="{FF2B5EF4-FFF2-40B4-BE49-F238E27FC236}">
                <a16:creationId xmlns:a16="http://schemas.microsoft.com/office/drawing/2014/main" id="{B3EB49D2-A1DC-305B-4744-29B755986195}"/>
              </a:ext>
            </a:extLst>
          </p:cNvPr>
          <p:cNvSpPr/>
          <p:nvPr/>
        </p:nvSpPr>
        <p:spPr>
          <a:xfrm>
            <a:off x="735044" y="2981099"/>
            <a:ext cx="603036" cy="603036"/>
          </a:xfrm>
          <a:prstGeom prst="ellipse">
            <a:avLst/>
          </a:prstGeom>
          <a:solidFill>
            <a:srgbClr val="002856"/>
          </a:solidFill>
          <a:ln w="12700">
            <a:miter lim="400000"/>
          </a:ln>
        </p:spPr>
        <p:txBody>
          <a:bodyPr lIns="0" tIns="0" rIns="0" bIns="0" anchor="ctr"/>
          <a:lstStyle/>
          <a:p>
            <a:pPr algn="ctr"/>
            <a:r>
              <a:rPr lang="en-US" sz="3200" b="1" dirty="0">
                <a:solidFill>
                  <a:srgbClr val="FFFFFF"/>
                </a:solidFill>
                <a:latin typeface="+mj-lt"/>
              </a:rPr>
              <a:t>3</a:t>
            </a:r>
            <a:endParaRPr sz="3200" b="1" dirty="0">
              <a:solidFill>
                <a:srgbClr val="FFFFFF"/>
              </a:solidFill>
              <a:latin typeface="+mj-lt"/>
            </a:endParaRPr>
          </a:p>
        </p:txBody>
      </p:sp>
      <p:sp>
        <p:nvSpPr>
          <p:cNvPr id="25" name="Circle">
            <a:extLst>
              <a:ext uri="{FF2B5EF4-FFF2-40B4-BE49-F238E27FC236}">
                <a16:creationId xmlns:a16="http://schemas.microsoft.com/office/drawing/2014/main" id="{5E0A185D-D504-BC8D-9556-D2BE9AB89857}"/>
              </a:ext>
            </a:extLst>
          </p:cNvPr>
          <p:cNvSpPr/>
          <p:nvPr/>
        </p:nvSpPr>
        <p:spPr>
          <a:xfrm>
            <a:off x="751038" y="3752665"/>
            <a:ext cx="603036" cy="603036"/>
          </a:xfrm>
          <a:prstGeom prst="ellipse">
            <a:avLst/>
          </a:prstGeom>
          <a:solidFill>
            <a:srgbClr val="002856"/>
          </a:solidFill>
          <a:ln w="12700">
            <a:miter lim="400000"/>
          </a:ln>
        </p:spPr>
        <p:txBody>
          <a:bodyPr lIns="0" tIns="0" rIns="0" bIns="0" anchor="ctr"/>
          <a:lstStyle/>
          <a:p>
            <a:pPr algn="ctr"/>
            <a:r>
              <a:rPr lang="en-US" sz="3200" b="1" dirty="0">
                <a:solidFill>
                  <a:srgbClr val="FFFFFF"/>
                </a:solidFill>
                <a:latin typeface="+mj-lt"/>
              </a:rPr>
              <a:t>4</a:t>
            </a:r>
            <a:endParaRPr sz="3200" b="1" dirty="0">
              <a:solidFill>
                <a:srgbClr val="FFFFFF"/>
              </a:solidFill>
              <a:latin typeface="+mj-lt"/>
            </a:endParaRPr>
          </a:p>
        </p:txBody>
      </p:sp>
      <p:sp>
        <p:nvSpPr>
          <p:cNvPr id="28" name="Rectangle 27">
            <a:extLst>
              <a:ext uri="{FF2B5EF4-FFF2-40B4-BE49-F238E27FC236}">
                <a16:creationId xmlns:a16="http://schemas.microsoft.com/office/drawing/2014/main" id="{B5817132-6959-3927-EEC6-93E70D5DB1D9}"/>
              </a:ext>
            </a:extLst>
          </p:cNvPr>
          <p:cNvSpPr/>
          <p:nvPr/>
        </p:nvSpPr>
        <p:spPr>
          <a:xfrm>
            <a:off x="1549735" y="2981099"/>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Rectangle 28">
            <a:extLst>
              <a:ext uri="{FF2B5EF4-FFF2-40B4-BE49-F238E27FC236}">
                <a16:creationId xmlns:a16="http://schemas.microsoft.com/office/drawing/2014/main" id="{62B0BA63-F058-B536-6886-0B962D5121D2}"/>
              </a:ext>
            </a:extLst>
          </p:cNvPr>
          <p:cNvSpPr/>
          <p:nvPr/>
        </p:nvSpPr>
        <p:spPr>
          <a:xfrm>
            <a:off x="6102133" y="2981260"/>
            <a:ext cx="5037083" cy="603036"/>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Focus on HOW</a:t>
            </a:r>
          </a:p>
        </p:txBody>
      </p:sp>
      <p:sp>
        <p:nvSpPr>
          <p:cNvPr id="30" name="Isosceles Triangle 29">
            <a:extLst>
              <a:ext uri="{FF2B5EF4-FFF2-40B4-BE49-F238E27FC236}">
                <a16:creationId xmlns:a16="http://schemas.microsoft.com/office/drawing/2014/main" id="{2720027E-25F6-EFB8-D68A-1C0A8CE1750A}"/>
              </a:ext>
            </a:extLst>
          </p:cNvPr>
          <p:cNvSpPr/>
          <p:nvPr/>
        </p:nvSpPr>
        <p:spPr>
          <a:xfrm rot="5400000">
            <a:off x="5994404" y="3098454"/>
            <a:ext cx="584791" cy="369332"/>
          </a:xfrm>
          <a:prstGeom prst="triangl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Rectangle 31">
            <a:extLst>
              <a:ext uri="{FF2B5EF4-FFF2-40B4-BE49-F238E27FC236}">
                <a16:creationId xmlns:a16="http://schemas.microsoft.com/office/drawing/2014/main" id="{93E3A37A-F7FA-BCDD-7601-016E4BA34A65}"/>
              </a:ext>
            </a:extLst>
          </p:cNvPr>
          <p:cNvSpPr/>
          <p:nvPr/>
        </p:nvSpPr>
        <p:spPr>
          <a:xfrm>
            <a:off x="1549735" y="3762003"/>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Rectangle 32">
            <a:extLst>
              <a:ext uri="{FF2B5EF4-FFF2-40B4-BE49-F238E27FC236}">
                <a16:creationId xmlns:a16="http://schemas.microsoft.com/office/drawing/2014/main" id="{7FE31539-4B0F-8DDF-88E8-1E4C4F80DCC8}"/>
              </a:ext>
            </a:extLst>
          </p:cNvPr>
          <p:cNvSpPr/>
          <p:nvPr/>
        </p:nvSpPr>
        <p:spPr>
          <a:xfrm>
            <a:off x="1549735" y="4589677"/>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Rectangle 33">
            <a:extLst>
              <a:ext uri="{FF2B5EF4-FFF2-40B4-BE49-F238E27FC236}">
                <a16:creationId xmlns:a16="http://schemas.microsoft.com/office/drawing/2014/main" id="{81C5A833-F3AA-3370-9552-539B036A2D28}"/>
              </a:ext>
            </a:extLst>
          </p:cNvPr>
          <p:cNvSpPr/>
          <p:nvPr/>
        </p:nvSpPr>
        <p:spPr>
          <a:xfrm>
            <a:off x="6102133" y="3762003"/>
            <a:ext cx="5037083" cy="603036"/>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Take control, don’t accept canned demos</a:t>
            </a:r>
          </a:p>
        </p:txBody>
      </p:sp>
      <p:sp>
        <p:nvSpPr>
          <p:cNvPr id="35" name="Isosceles Triangle 34">
            <a:extLst>
              <a:ext uri="{FF2B5EF4-FFF2-40B4-BE49-F238E27FC236}">
                <a16:creationId xmlns:a16="http://schemas.microsoft.com/office/drawing/2014/main" id="{B4F566D5-BD9B-791D-4948-388654CC3AAA}"/>
              </a:ext>
            </a:extLst>
          </p:cNvPr>
          <p:cNvSpPr/>
          <p:nvPr/>
        </p:nvSpPr>
        <p:spPr>
          <a:xfrm rot="5400000">
            <a:off x="5994404" y="3879197"/>
            <a:ext cx="584791" cy="369332"/>
          </a:xfrm>
          <a:prstGeom prst="triangl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Rectangle 35">
            <a:extLst>
              <a:ext uri="{FF2B5EF4-FFF2-40B4-BE49-F238E27FC236}">
                <a16:creationId xmlns:a16="http://schemas.microsoft.com/office/drawing/2014/main" id="{C7C6C472-A04D-E1E5-668F-0C49EFF55A07}"/>
              </a:ext>
            </a:extLst>
          </p:cNvPr>
          <p:cNvSpPr/>
          <p:nvPr/>
        </p:nvSpPr>
        <p:spPr>
          <a:xfrm>
            <a:off x="6102133" y="4592699"/>
            <a:ext cx="5037083" cy="603036"/>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Go beyond tool features</a:t>
            </a:r>
          </a:p>
        </p:txBody>
      </p:sp>
      <p:sp>
        <p:nvSpPr>
          <p:cNvPr id="37" name="Isosceles Triangle 36">
            <a:extLst>
              <a:ext uri="{FF2B5EF4-FFF2-40B4-BE49-F238E27FC236}">
                <a16:creationId xmlns:a16="http://schemas.microsoft.com/office/drawing/2014/main" id="{01AD8D11-F346-33ED-46AB-E4251A68FD97}"/>
              </a:ext>
            </a:extLst>
          </p:cNvPr>
          <p:cNvSpPr/>
          <p:nvPr/>
        </p:nvSpPr>
        <p:spPr>
          <a:xfrm rot="5400000">
            <a:off x="5994404" y="4709893"/>
            <a:ext cx="584791" cy="369332"/>
          </a:xfrm>
          <a:prstGeom prst="triangl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Rectangle 37">
            <a:extLst>
              <a:ext uri="{FF2B5EF4-FFF2-40B4-BE49-F238E27FC236}">
                <a16:creationId xmlns:a16="http://schemas.microsoft.com/office/drawing/2014/main" id="{89015BB3-566C-7306-6A4E-639D033DA82C}"/>
              </a:ext>
            </a:extLst>
          </p:cNvPr>
          <p:cNvSpPr/>
          <p:nvPr/>
        </p:nvSpPr>
        <p:spPr>
          <a:xfrm>
            <a:off x="1549735" y="5389359"/>
            <a:ext cx="4540134" cy="603036"/>
          </a:xfrm>
          <a:prstGeom prst="rect">
            <a:avLst/>
          </a:prstGeom>
          <a:no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 name="Rectangle 38">
            <a:extLst>
              <a:ext uri="{FF2B5EF4-FFF2-40B4-BE49-F238E27FC236}">
                <a16:creationId xmlns:a16="http://schemas.microsoft.com/office/drawing/2014/main" id="{33E27E84-5288-A6D9-5095-ED9120077C0F}"/>
              </a:ext>
            </a:extLst>
          </p:cNvPr>
          <p:cNvSpPr/>
          <p:nvPr/>
        </p:nvSpPr>
        <p:spPr>
          <a:xfrm>
            <a:off x="6089869" y="5391583"/>
            <a:ext cx="5037083" cy="603036"/>
          </a:xfrm>
          <a:prstGeom prst="rect">
            <a:avLst/>
          </a:prstGeom>
          <a:solidFill>
            <a:srgbClr val="002856"/>
          </a:solidFill>
          <a:ln>
            <a:solidFill>
              <a:srgbClr val="00285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Uncover Total Cost of Ownership (TCO)</a:t>
            </a:r>
          </a:p>
        </p:txBody>
      </p:sp>
      <p:sp>
        <p:nvSpPr>
          <p:cNvPr id="40" name="Isosceles Triangle 39">
            <a:extLst>
              <a:ext uri="{FF2B5EF4-FFF2-40B4-BE49-F238E27FC236}">
                <a16:creationId xmlns:a16="http://schemas.microsoft.com/office/drawing/2014/main" id="{7384A0D0-990D-D6E2-7AE5-077A673E6C6B}"/>
              </a:ext>
            </a:extLst>
          </p:cNvPr>
          <p:cNvSpPr/>
          <p:nvPr/>
        </p:nvSpPr>
        <p:spPr>
          <a:xfrm rot="5400000">
            <a:off x="5982140" y="5508777"/>
            <a:ext cx="584791" cy="369332"/>
          </a:xfrm>
          <a:prstGeom prst="triangle">
            <a:avLst/>
          </a:prstGeom>
          <a:solidFill>
            <a:srgbClr val="009A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Circle">
            <a:extLst>
              <a:ext uri="{FF2B5EF4-FFF2-40B4-BE49-F238E27FC236}">
                <a16:creationId xmlns:a16="http://schemas.microsoft.com/office/drawing/2014/main" id="{5948E040-4FCE-2278-C0DB-27D99EEFF9E9}"/>
              </a:ext>
            </a:extLst>
          </p:cNvPr>
          <p:cNvSpPr/>
          <p:nvPr/>
        </p:nvSpPr>
        <p:spPr>
          <a:xfrm>
            <a:off x="714365" y="4563662"/>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43" name="Circle">
            <a:extLst>
              <a:ext uri="{FF2B5EF4-FFF2-40B4-BE49-F238E27FC236}">
                <a16:creationId xmlns:a16="http://schemas.microsoft.com/office/drawing/2014/main" id="{F1B9466A-F76C-B87D-1611-7C9558E2E666}"/>
              </a:ext>
            </a:extLst>
          </p:cNvPr>
          <p:cNvSpPr/>
          <p:nvPr/>
        </p:nvSpPr>
        <p:spPr>
          <a:xfrm>
            <a:off x="727545" y="5363344"/>
            <a:ext cx="655067" cy="655067"/>
          </a:xfrm>
          <a:prstGeom prst="ellipse">
            <a:avLst/>
          </a:prstGeom>
          <a:solidFill>
            <a:srgbClr val="979D9D"/>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44" name="Circle">
            <a:extLst>
              <a:ext uri="{FF2B5EF4-FFF2-40B4-BE49-F238E27FC236}">
                <a16:creationId xmlns:a16="http://schemas.microsoft.com/office/drawing/2014/main" id="{2A60C564-06AB-698E-A707-1B9EF45662BD}"/>
              </a:ext>
            </a:extLst>
          </p:cNvPr>
          <p:cNvSpPr/>
          <p:nvPr/>
        </p:nvSpPr>
        <p:spPr>
          <a:xfrm>
            <a:off x="740380" y="4589677"/>
            <a:ext cx="603036" cy="603036"/>
          </a:xfrm>
          <a:prstGeom prst="ellipse">
            <a:avLst/>
          </a:prstGeom>
          <a:solidFill>
            <a:srgbClr val="002856"/>
          </a:solidFill>
          <a:ln w="12700">
            <a:miter lim="400000"/>
          </a:ln>
        </p:spPr>
        <p:txBody>
          <a:bodyPr lIns="0" tIns="0" rIns="0" bIns="0" anchor="ctr"/>
          <a:lstStyle/>
          <a:p>
            <a:pPr algn="ctr"/>
            <a:r>
              <a:rPr lang="en-US" sz="3200" b="1" dirty="0">
                <a:solidFill>
                  <a:srgbClr val="FFFFFF"/>
                </a:solidFill>
                <a:latin typeface="+mj-lt"/>
              </a:rPr>
              <a:t>5</a:t>
            </a:r>
            <a:endParaRPr sz="3200" b="1" dirty="0">
              <a:solidFill>
                <a:srgbClr val="FFFFFF"/>
              </a:solidFill>
              <a:latin typeface="+mj-lt"/>
            </a:endParaRPr>
          </a:p>
        </p:txBody>
      </p:sp>
      <p:sp>
        <p:nvSpPr>
          <p:cNvPr id="45" name="Circle">
            <a:extLst>
              <a:ext uri="{FF2B5EF4-FFF2-40B4-BE49-F238E27FC236}">
                <a16:creationId xmlns:a16="http://schemas.microsoft.com/office/drawing/2014/main" id="{D6A39AB4-1C89-6B7F-9D0C-2BDE5825A7FE}"/>
              </a:ext>
            </a:extLst>
          </p:cNvPr>
          <p:cNvSpPr/>
          <p:nvPr/>
        </p:nvSpPr>
        <p:spPr>
          <a:xfrm>
            <a:off x="753560" y="5389359"/>
            <a:ext cx="603036" cy="603036"/>
          </a:xfrm>
          <a:prstGeom prst="ellipse">
            <a:avLst/>
          </a:prstGeom>
          <a:solidFill>
            <a:srgbClr val="002856"/>
          </a:solidFill>
          <a:ln w="12700">
            <a:miter lim="400000"/>
          </a:ln>
        </p:spPr>
        <p:txBody>
          <a:bodyPr lIns="0" tIns="0" rIns="0" bIns="0" anchor="ctr"/>
          <a:lstStyle/>
          <a:p>
            <a:pPr algn="ctr">
              <a:defRPr sz="3200" b="0">
                <a:solidFill>
                  <a:srgbClr val="FFFFFF"/>
                </a:solidFill>
                <a:latin typeface="+mn-lt"/>
                <a:ea typeface="+mn-ea"/>
                <a:cs typeface="+mn-cs"/>
                <a:sym typeface="Helvetica Neue Medium"/>
              </a:defRPr>
            </a:pPr>
            <a:r>
              <a:rPr lang="en-US" sz="3200" b="1" dirty="0">
                <a:latin typeface="+mj-lt"/>
              </a:rPr>
              <a:t>6</a:t>
            </a:r>
            <a:endParaRPr sz="3200" b="1" dirty="0">
              <a:latin typeface="+mj-lt"/>
            </a:endParaRPr>
          </a:p>
        </p:txBody>
      </p:sp>
      <p:sp>
        <p:nvSpPr>
          <p:cNvPr id="8" name="TextBox 7">
            <a:extLst>
              <a:ext uri="{FF2B5EF4-FFF2-40B4-BE49-F238E27FC236}">
                <a16:creationId xmlns:a16="http://schemas.microsoft.com/office/drawing/2014/main" id="{F3CADAD3-B5CD-AFE7-B324-C824AA0482A3}"/>
              </a:ext>
            </a:extLst>
          </p:cNvPr>
          <p:cNvSpPr txBox="1"/>
          <p:nvPr/>
        </p:nvSpPr>
        <p:spPr>
          <a:xfrm>
            <a:off x="1555071" y="1544559"/>
            <a:ext cx="45347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srgbClr val="002856"/>
                </a:solidFill>
                <a:latin typeface="+mj-lt"/>
              </a:rPr>
              <a:t>Define Outcomes and Capabilities</a:t>
            </a:r>
          </a:p>
        </p:txBody>
      </p:sp>
    </p:spTree>
    <p:extLst>
      <p:ext uri="{BB962C8B-B14F-4D97-AF65-F5344CB8AC3E}">
        <p14:creationId xmlns:p14="http://schemas.microsoft.com/office/powerpoint/2010/main" val="1989949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95618-D06A-0283-6C68-46B0C92C78D3}"/>
              </a:ext>
            </a:extLst>
          </p:cNvPr>
          <p:cNvSpPr>
            <a:spLocks noGrp="1"/>
          </p:cNvSpPr>
          <p:nvPr>
            <p:ph type="title"/>
          </p:nvPr>
        </p:nvSpPr>
        <p:spPr/>
        <p:txBody>
          <a:bodyPr/>
          <a:lstStyle/>
          <a:p>
            <a:r>
              <a:rPr lang="en-US" dirty="0"/>
              <a:t>Definitions</a:t>
            </a:r>
          </a:p>
        </p:txBody>
      </p:sp>
      <p:sp>
        <p:nvSpPr>
          <p:cNvPr id="6" name="TextBox 5">
            <a:extLst>
              <a:ext uri="{FF2B5EF4-FFF2-40B4-BE49-F238E27FC236}">
                <a16:creationId xmlns:a16="http://schemas.microsoft.com/office/drawing/2014/main" id="{3F327C1F-4ACB-D89E-68A5-4386BBEB06FF}"/>
              </a:ext>
            </a:extLst>
          </p:cNvPr>
          <p:cNvSpPr txBox="1"/>
          <p:nvPr/>
        </p:nvSpPr>
        <p:spPr>
          <a:xfrm>
            <a:off x="457200" y="1327880"/>
            <a:ext cx="6412012" cy="646331"/>
          </a:xfrm>
          <a:prstGeom prst="rect">
            <a:avLst/>
          </a:prstGeom>
          <a:noFill/>
        </p:spPr>
        <p:txBody>
          <a:bodyPr wrap="none" lIns="0" rIns="0" rtlCol="0">
            <a:spAutoFit/>
          </a:bodyPr>
          <a:lstStyle/>
          <a:p>
            <a:pPr algn="l">
              <a:spcBef>
                <a:spcPts val="600"/>
              </a:spcBef>
            </a:pPr>
            <a:r>
              <a:rPr lang="en-US" sz="3600" b="1" dirty="0">
                <a:solidFill>
                  <a:srgbClr val="009AD7"/>
                </a:solidFill>
                <a:latin typeface="Times New Roman" panose="02020603050405020304" pitchFamily="18" charset="0"/>
                <a:cs typeface="Times New Roman" panose="02020603050405020304" pitchFamily="18" charset="0"/>
              </a:rPr>
              <a:t>Supply Chain Scope 3 Emissions</a:t>
            </a:r>
            <a:endParaRPr lang="en-US" sz="3200" b="1" dirty="0">
              <a:solidFill>
                <a:srgbClr val="009AD7"/>
              </a:solidFill>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9A846EDF-9F2D-56EC-323F-FE630E07104F}"/>
              </a:ext>
            </a:extLst>
          </p:cNvPr>
          <p:cNvSpPr txBox="1"/>
          <p:nvPr/>
        </p:nvSpPr>
        <p:spPr>
          <a:xfrm>
            <a:off x="457200" y="1974211"/>
            <a:ext cx="8858250" cy="1015663"/>
          </a:xfrm>
          <a:prstGeom prst="rect">
            <a:avLst/>
          </a:prstGeom>
          <a:noFill/>
        </p:spPr>
        <p:txBody>
          <a:bodyPr wrap="square" lIns="0" rIns="0" rtlCol="0">
            <a:spAutoFit/>
          </a:bodyPr>
          <a:lstStyle/>
          <a:p>
            <a:pPr algn="l">
              <a:spcBef>
                <a:spcPts val="600"/>
              </a:spcBef>
            </a:pPr>
            <a:r>
              <a:rPr lang="en-US" sz="2000" b="1" dirty="0">
                <a:solidFill>
                  <a:srgbClr val="FF540A"/>
                </a:solidFill>
                <a:latin typeface="Times New Roman" panose="02020603050405020304" pitchFamily="18" charset="0"/>
                <a:cs typeface="Times New Roman" panose="02020603050405020304" pitchFamily="18" charset="0"/>
              </a:rPr>
              <a:t>1. </a:t>
            </a:r>
            <a:r>
              <a:rPr lang="en-US" sz="2000" dirty="0">
                <a:latin typeface="Times New Roman" panose="02020603050405020304" pitchFamily="18" charset="0"/>
                <a:cs typeface="Times New Roman" panose="02020603050405020304" pitchFamily="18" charset="0"/>
              </a:rPr>
              <a:t>Indirect emissions that occur in the value chain of the reporting company where Supply Chain has greatest control. </a:t>
            </a:r>
            <a:r>
              <a:rPr lang="en-US" sz="2000" b="1" dirty="0">
                <a:solidFill>
                  <a:srgbClr val="FF540A"/>
                </a:solidFill>
                <a:latin typeface="Times New Roman" panose="02020603050405020304" pitchFamily="18" charset="0"/>
                <a:cs typeface="Times New Roman" panose="02020603050405020304" pitchFamily="18" charset="0"/>
              </a:rPr>
              <a:t>2.</a:t>
            </a:r>
            <a:r>
              <a:rPr lang="en-US" sz="2000" dirty="0">
                <a:solidFill>
                  <a:srgbClr val="FF540A"/>
                </a:solidFill>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Primarily focused on Category 1 - purchased goods and services.</a:t>
            </a:r>
          </a:p>
        </p:txBody>
      </p:sp>
      <p:sp>
        <p:nvSpPr>
          <p:cNvPr id="12" name="TextBox 11">
            <a:extLst>
              <a:ext uri="{FF2B5EF4-FFF2-40B4-BE49-F238E27FC236}">
                <a16:creationId xmlns:a16="http://schemas.microsoft.com/office/drawing/2014/main" id="{F772E30F-6EB6-0DC8-E5C1-CCB15272AF5E}"/>
              </a:ext>
            </a:extLst>
          </p:cNvPr>
          <p:cNvSpPr txBox="1"/>
          <p:nvPr/>
        </p:nvSpPr>
        <p:spPr>
          <a:xfrm>
            <a:off x="457200" y="3471646"/>
            <a:ext cx="5271251" cy="646331"/>
          </a:xfrm>
          <a:prstGeom prst="rect">
            <a:avLst/>
          </a:prstGeom>
          <a:noFill/>
        </p:spPr>
        <p:txBody>
          <a:bodyPr wrap="none" lIns="0" rIns="0" rtlCol="0">
            <a:spAutoFit/>
          </a:bodyPr>
          <a:lstStyle/>
          <a:p>
            <a:pPr algn="l">
              <a:spcBef>
                <a:spcPts val="600"/>
              </a:spcBef>
            </a:pPr>
            <a:r>
              <a:rPr lang="en-US" sz="3600" b="1" dirty="0">
                <a:solidFill>
                  <a:srgbClr val="009AD7"/>
                </a:solidFill>
                <a:latin typeface="Times New Roman" panose="02020603050405020304" pitchFamily="18" charset="0"/>
                <a:cs typeface="Times New Roman" panose="02020603050405020304" pitchFamily="18" charset="0"/>
              </a:rPr>
              <a:t>Digital Tools and Solutions</a:t>
            </a:r>
            <a:endParaRPr lang="en-US" sz="3200" b="1" dirty="0">
              <a:solidFill>
                <a:srgbClr val="009AD7"/>
              </a:solidFill>
              <a:latin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3D0F3FEC-F6EB-A42A-306C-E2101DB33A93}"/>
              </a:ext>
            </a:extLst>
          </p:cNvPr>
          <p:cNvSpPr txBox="1"/>
          <p:nvPr/>
        </p:nvSpPr>
        <p:spPr>
          <a:xfrm>
            <a:off x="457200" y="4117977"/>
            <a:ext cx="8858250" cy="1323439"/>
          </a:xfrm>
          <a:prstGeom prst="rect">
            <a:avLst/>
          </a:prstGeom>
          <a:noFill/>
        </p:spPr>
        <p:txBody>
          <a:bodyPr wrap="square" lIns="0" rIns="0" rtlCol="0">
            <a:spAutoFit/>
          </a:bodyPr>
          <a:lstStyle/>
          <a:p>
            <a:pPr algn="l">
              <a:spcBef>
                <a:spcPts val="600"/>
              </a:spcBef>
            </a:pPr>
            <a:r>
              <a:rPr lang="en-US" sz="2000" b="1" dirty="0">
                <a:solidFill>
                  <a:srgbClr val="FF540A"/>
                </a:solidFill>
                <a:latin typeface="Times New Roman" panose="02020603050405020304" pitchFamily="18" charset="0"/>
                <a:cs typeface="Times New Roman" panose="02020603050405020304" pitchFamily="18" charset="0"/>
              </a:rPr>
              <a:t>1. </a:t>
            </a:r>
            <a:r>
              <a:rPr lang="en-US" sz="2000" dirty="0">
                <a:latin typeface="Times New Roman" panose="02020603050405020304" pitchFamily="18" charset="0"/>
                <a:cs typeface="Times New Roman" panose="02020603050405020304" pitchFamily="18" charset="0"/>
              </a:rPr>
              <a:t>Software applications available in the market that enable organizations to manage their Scope 3 program. </a:t>
            </a:r>
            <a:r>
              <a:rPr lang="en-US" sz="2000" b="1" dirty="0">
                <a:solidFill>
                  <a:srgbClr val="FF540A"/>
                </a:solidFill>
                <a:latin typeface="Times New Roman" panose="02020603050405020304" pitchFamily="18" charset="0"/>
                <a:cs typeface="Times New Roman" panose="02020603050405020304" pitchFamily="18" charset="0"/>
              </a:rPr>
              <a:t>2. </a:t>
            </a:r>
            <a:r>
              <a:rPr lang="en-US" sz="2000" dirty="0">
                <a:latin typeface="Times New Roman" panose="02020603050405020304" pitchFamily="18" charset="0"/>
                <a:cs typeface="Times New Roman" panose="02020603050405020304" pitchFamily="18" charset="0"/>
              </a:rPr>
              <a:t>Software can be on-premises applications or SaaS (Software-as-a-Service). </a:t>
            </a:r>
            <a:r>
              <a:rPr lang="en-US" sz="2000" b="1" dirty="0">
                <a:solidFill>
                  <a:srgbClr val="FF540A"/>
                </a:solidFill>
                <a:latin typeface="Times New Roman" panose="02020603050405020304" pitchFamily="18" charset="0"/>
                <a:cs typeface="Times New Roman" panose="02020603050405020304" pitchFamily="18" charset="0"/>
              </a:rPr>
              <a:t>3. </a:t>
            </a:r>
            <a:r>
              <a:rPr lang="en-US" sz="2000" dirty="0">
                <a:latin typeface="Times New Roman" panose="02020603050405020304" pitchFamily="18" charset="0"/>
                <a:cs typeface="Times New Roman" panose="02020603050405020304" pitchFamily="18" charset="0"/>
              </a:rPr>
              <a:t>Excludes service providers (e.g. consultants, industry associations, etc.)</a:t>
            </a:r>
          </a:p>
        </p:txBody>
      </p:sp>
    </p:spTree>
    <p:extLst>
      <p:ext uri="{BB962C8B-B14F-4D97-AF65-F5344CB8AC3E}">
        <p14:creationId xmlns:p14="http://schemas.microsoft.com/office/powerpoint/2010/main" val="39181018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Questions?</a:t>
            </a:r>
            <a:br>
              <a:rPr lang="en-US" dirty="0"/>
            </a:br>
            <a:r>
              <a:rPr lang="en-US" sz="2400" dirty="0">
                <a:solidFill>
                  <a:srgbClr val="009AD7"/>
                </a:solidFill>
              </a:rPr>
              <a:t>Miguel.cossio@gartner.com</a:t>
            </a:r>
            <a:endParaRPr lang="en-US" dirty="0">
              <a:solidFill>
                <a:srgbClr val="009AD7"/>
              </a:solidFill>
            </a:endParaRPr>
          </a:p>
        </p:txBody>
      </p:sp>
    </p:spTree>
    <p:extLst>
      <p:ext uri="{BB962C8B-B14F-4D97-AF65-F5344CB8AC3E}">
        <p14:creationId xmlns:p14="http://schemas.microsoft.com/office/powerpoint/2010/main" val="4194908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18"/>
          <p:cNvSpPr>
            <a:spLocks noGrp="1" noChangeArrowheads="1"/>
          </p:cNvSpPr>
          <p:nvPr>
            <p:ph type="title"/>
          </p:nvPr>
        </p:nvSpPr>
        <p:spPr/>
        <p:txBody>
          <a:bodyPr/>
          <a:lstStyle/>
          <a:p>
            <a:r>
              <a:rPr lang="en-US" dirty="0"/>
              <a:t>Today’s Agenda</a:t>
            </a:r>
          </a:p>
        </p:txBody>
      </p:sp>
      <p:sp>
        <p:nvSpPr>
          <p:cNvPr id="6148" name="Rectangle 19"/>
          <p:cNvSpPr>
            <a:spLocks noGrp="1" noChangeArrowheads="1"/>
          </p:cNvSpPr>
          <p:nvPr>
            <p:ph sz="quarter" idx="10"/>
          </p:nvPr>
        </p:nvSpPr>
        <p:spPr/>
        <p:txBody>
          <a:bodyPr/>
          <a:lstStyle/>
          <a:p>
            <a:r>
              <a:rPr lang="en-US" dirty="0"/>
              <a:t>What types of digital solutions are available in the market?</a:t>
            </a:r>
          </a:p>
          <a:p>
            <a:r>
              <a:rPr lang="en-US" dirty="0"/>
              <a:t>How can these solutions help?</a:t>
            </a:r>
          </a:p>
          <a:p>
            <a:r>
              <a:rPr lang="en-US" dirty="0"/>
              <a:t>How do I select the best tool for our Scope 3 program?</a:t>
            </a:r>
          </a:p>
        </p:txBody>
      </p:sp>
    </p:spTree>
    <p:extLst>
      <p:ext uri="{BB962C8B-B14F-4D97-AF65-F5344CB8AC3E}">
        <p14:creationId xmlns:p14="http://schemas.microsoft.com/office/powerpoint/2010/main" val="3810749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8724B-D716-D09A-F901-BCF10D599FD2}"/>
              </a:ext>
            </a:extLst>
          </p:cNvPr>
          <p:cNvSpPr>
            <a:spLocks noGrp="1"/>
          </p:cNvSpPr>
          <p:nvPr>
            <p:ph type="title"/>
          </p:nvPr>
        </p:nvSpPr>
        <p:spPr>
          <a:xfrm>
            <a:off x="2057400" y="1527048"/>
            <a:ext cx="4910328" cy="2935224"/>
          </a:xfrm>
        </p:spPr>
        <p:txBody>
          <a:bodyPr wrap="square" anchor="ctr">
            <a:normAutofit/>
          </a:bodyPr>
          <a:lstStyle/>
          <a:p>
            <a:r>
              <a:rPr lang="en-US" sz="3100" dirty="0"/>
              <a:t>What types of digital solutions are available in the market?</a:t>
            </a:r>
          </a:p>
        </p:txBody>
      </p:sp>
    </p:spTree>
    <p:extLst>
      <p:ext uri="{BB962C8B-B14F-4D97-AF65-F5344CB8AC3E}">
        <p14:creationId xmlns:p14="http://schemas.microsoft.com/office/powerpoint/2010/main" val="3487648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EF310-D7D1-BFDD-BC21-1B323728987C}"/>
              </a:ext>
            </a:extLst>
          </p:cNvPr>
          <p:cNvSpPr>
            <a:spLocks noGrp="1"/>
          </p:cNvSpPr>
          <p:nvPr>
            <p:ph type="title"/>
          </p:nvPr>
        </p:nvSpPr>
        <p:spPr/>
        <p:txBody>
          <a:bodyPr/>
          <a:lstStyle/>
          <a:p>
            <a:r>
              <a:rPr lang="en-US" dirty="0"/>
              <a:t>What do These Solutions Have in Common?</a:t>
            </a:r>
          </a:p>
        </p:txBody>
      </p:sp>
      <p:pic>
        <p:nvPicPr>
          <p:cNvPr id="1034" name="Picture 10" descr="Operational Risk Maturity Model Tool - Sphera">
            <a:extLst>
              <a:ext uri="{FF2B5EF4-FFF2-40B4-BE49-F238E27FC236}">
                <a16:creationId xmlns:a16="http://schemas.microsoft.com/office/drawing/2014/main" id="{614FA36D-0B3A-32AA-936D-4450E7166E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7467" y="1800514"/>
            <a:ext cx="2854610" cy="95153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C30387C-AB27-1B3A-FCB3-8B87B593F7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90799" y="4237896"/>
            <a:ext cx="1909731" cy="82581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Novartis Roundtable">
            <a:extLst>
              <a:ext uri="{FF2B5EF4-FFF2-40B4-BE49-F238E27FC236}">
                <a16:creationId xmlns:a16="http://schemas.microsoft.com/office/drawing/2014/main" id="{39FE9DC0-37EF-C00B-48C2-95ADC3B68C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9907" y="4307050"/>
            <a:ext cx="1909731" cy="68750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44359DE0-6038-0FDB-39A2-1C439343F55C}"/>
              </a:ext>
            </a:extLst>
          </p:cNvPr>
          <p:cNvGrpSpPr/>
          <p:nvPr/>
        </p:nvGrpSpPr>
        <p:grpSpPr>
          <a:xfrm>
            <a:off x="1726793" y="1848046"/>
            <a:ext cx="3437742" cy="856473"/>
            <a:chOff x="957688" y="1698289"/>
            <a:chExt cx="2505745" cy="624277"/>
          </a:xfrm>
        </p:grpSpPr>
        <p:pic>
          <p:nvPicPr>
            <p:cNvPr id="1032" name="Picture 8" descr="carbmee GmbH">
              <a:extLst>
                <a:ext uri="{FF2B5EF4-FFF2-40B4-BE49-F238E27FC236}">
                  <a16:creationId xmlns:a16="http://schemas.microsoft.com/office/drawing/2014/main" id="{57CF6442-1F0A-5776-74FD-6537F6473A8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3447" t="8804" r="34562" b="40329"/>
            <a:stretch/>
          </p:blipFill>
          <p:spPr bwMode="auto">
            <a:xfrm>
              <a:off x="957688" y="1698289"/>
              <a:ext cx="580102" cy="6242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arbmee GmbH">
              <a:extLst>
                <a:ext uri="{FF2B5EF4-FFF2-40B4-BE49-F238E27FC236}">
                  <a16:creationId xmlns:a16="http://schemas.microsoft.com/office/drawing/2014/main" id="{DF91C597-C423-A4D1-2D73-20BF631E579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2559"/>
            <a:stretch/>
          </p:blipFill>
          <p:spPr bwMode="auto">
            <a:xfrm>
              <a:off x="1438794" y="1809527"/>
              <a:ext cx="2024639" cy="51303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60069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24E24-03B9-531B-407E-024ED9F63796}"/>
              </a:ext>
            </a:extLst>
          </p:cNvPr>
          <p:cNvSpPr>
            <a:spLocks noGrp="1"/>
          </p:cNvSpPr>
          <p:nvPr>
            <p:ph type="title"/>
          </p:nvPr>
        </p:nvSpPr>
        <p:spPr/>
        <p:txBody>
          <a:bodyPr/>
          <a:lstStyle/>
          <a:p>
            <a:r>
              <a:rPr lang="en-US" dirty="0"/>
              <a:t>Solution Types Available – and How to Spot Them</a:t>
            </a:r>
          </a:p>
        </p:txBody>
      </p:sp>
      <p:sp>
        <p:nvSpPr>
          <p:cNvPr id="3" name="Rectangle 2">
            <a:extLst>
              <a:ext uri="{FF2B5EF4-FFF2-40B4-BE49-F238E27FC236}">
                <a16:creationId xmlns:a16="http://schemas.microsoft.com/office/drawing/2014/main" id="{96C6AF4E-2D9F-D9A3-A3E7-F4A375FD2003}"/>
              </a:ext>
            </a:extLst>
          </p:cNvPr>
          <p:cNvSpPr/>
          <p:nvPr/>
        </p:nvSpPr>
        <p:spPr>
          <a:xfrm>
            <a:off x="457994" y="1501478"/>
            <a:ext cx="4443743" cy="1031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t>Carbon Management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C4B0"/>
                </a:solidFill>
                <a:effectLst/>
                <a:uLnTx/>
                <a:uFillTx/>
                <a:latin typeface="Arial"/>
                <a:ea typeface="+mn-ea"/>
                <a:cs typeface="+mn-cs"/>
              </a:rPr>
              <a:t>Supply chain-focus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C4B0"/>
                </a:solidFill>
                <a:effectLst/>
                <a:uLnTx/>
                <a:uFillTx/>
                <a:latin typeface="Arial"/>
                <a:ea typeface="+mn-ea"/>
                <a:cs typeface="+mn-cs"/>
              </a:rPr>
              <a:t>Enterprise-focused</a:t>
            </a:r>
          </a:p>
          <a:p>
            <a:endParaRPr lang="en-US" dirty="0"/>
          </a:p>
        </p:txBody>
      </p:sp>
      <p:sp>
        <p:nvSpPr>
          <p:cNvPr id="4" name="Rectangle 3">
            <a:extLst>
              <a:ext uri="{FF2B5EF4-FFF2-40B4-BE49-F238E27FC236}">
                <a16:creationId xmlns:a16="http://schemas.microsoft.com/office/drawing/2014/main" id="{FEA6F80F-7DD0-15CF-FD52-0A16C71C721A}"/>
              </a:ext>
            </a:extLst>
          </p:cNvPr>
          <p:cNvSpPr/>
          <p:nvPr/>
        </p:nvSpPr>
        <p:spPr>
          <a:xfrm>
            <a:off x="457994" y="2658696"/>
            <a:ext cx="4443743" cy="1031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t>ESG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6C4B0"/>
                </a:solidFill>
                <a:effectLst/>
                <a:uLnTx/>
                <a:uFillTx/>
                <a:latin typeface="Arial"/>
                <a:ea typeface="+mn-ea"/>
                <a:cs typeface="+mn-cs"/>
              </a:rPr>
              <a:t>Supply chain-focused</a:t>
            </a:r>
          </a:p>
          <a:p>
            <a:pPr>
              <a:defRPr/>
            </a:pPr>
            <a:r>
              <a:rPr kumimoji="0" lang="en-US" sz="1400" b="0" i="0" u="none" strike="noStrike" kern="1200" cap="none" spc="0" normalizeH="0" baseline="0" noProof="0" dirty="0">
                <a:ln>
                  <a:noFill/>
                </a:ln>
                <a:solidFill>
                  <a:srgbClr val="06C4B0"/>
                </a:solidFill>
                <a:effectLst/>
                <a:uLnTx/>
                <a:uFillTx/>
                <a:latin typeface="Arial"/>
                <a:ea typeface="+mn-ea"/>
                <a:cs typeface="+mn-cs"/>
              </a:rPr>
              <a:t>Enterprise-focused</a:t>
            </a:r>
          </a:p>
          <a:p>
            <a:endParaRPr lang="en-US" dirty="0"/>
          </a:p>
        </p:txBody>
      </p:sp>
      <p:sp>
        <p:nvSpPr>
          <p:cNvPr id="5" name="Rectangle 4">
            <a:extLst>
              <a:ext uri="{FF2B5EF4-FFF2-40B4-BE49-F238E27FC236}">
                <a16:creationId xmlns:a16="http://schemas.microsoft.com/office/drawing/2014/main" id="{7F0B73F8-FD49-E83A-A670-B1A2356F6D79}"/>
              </a:ext>
            </a:extLst>
          </p:cNvPr>
          <p:cNvSpPr/>
          <p:nvPr/>
        </p:nvSpPr>
        <p:spPr>
          <a:xfrm>
            <a:off x="457994" y="3815914"/>
            <a:ext cx="4443743" cy="1031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t>Legacy Solution Suites</a:t>
            </a:r>
          </a:p>
          <a:p>
            <a:r>
              <a:rPr lang="en-US" sz="1400" dirty="0">
                <a:solidFill>
                  <a:srgbClr val="06C4B0"/>
                </a:solidFill>
              </a:rPr>
              <a:t>Embedded carbon module</a:t>
            </a:r>
          </a:p>
        </p:txBody>
      </p:sp>
      <p:sp>
        <p:nvSpPr>
          <p:cNvPr id="6" name="Rectangle 5">
            <a:extLst>
              <a:ext uri="{FF2B5EF4-FFF2-40B4-BE49-F238E27FC236}">
                <a16:creationId xmlns:a16="http://schemas.microsoft.com/office/drawing/2014/main" id="{62CF7DD4-DC3E-E87D-389A-0F8A5C50366A}"/>
              </a:ext>
            </a:extLst>
          </p:cNvPr>
          <p:cNvSpPr/>
          <p:nvPr/>
        </p:nvSpPr>
        <p:spPr>
          <a:xfrm>
            <a:off x="457200" y="4973132"/>
            <a:ext cx="4443743" cy="1031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b="1" dirty="0"/>
              <a:t>Specialty Applications</a:t>
            </a:r>
          </a:p>
          <a:p>
            <a:r>
              <a:rPr lang="en-US" sz="1400" dirty="0">
                <a:solidFill>
                  <a:srgbClr val="06C4B0"/>
                </a:solidFill>
              </a:rPr>
              <a:t>Supplier collaboration</a:t>
            </a:r>
          </a:p>
          <a:p>
            <a:r>
              <a:rPr lang="en-US" sz="1400" dirty="0">
                <a:solidFill>
                  <a:srgbClr val="06C4B0"/>
                </a:solidFill>
              </a:rPr>
              <a:t>Project management</a:t>
            </a:r>
          </a:p>
          <a:p>
            <a:r>
              <a:rPr lang="en-US" sz="1400" dirty="0">
                <a:solidFill>
                  <a:srgbClr val="06C4B0"/>
                </a:solidFill>
              </a:rPr>
              <a:t>Innovation management and others</a:t>
            </a:r>
          </a:p>
          <a:p>
            <a:endParaRPr lang="en-US" dirty="0"/>
          </a:p>
        </p:txBody>
      </p:sp>
      <p:sp>
        <p:nvSpPr>
          <p:cNvPr id="8" name="Isosceles Triangle 7">
            <a:extLst>
              <a:ext uri="{FF2B5EF4-FFF2-40B4-BE49-F238E27FC236}">
                <a16:creationId xmlns:a16="http://schemas.microsoft.com/office/drawing/2014/main" id="{6034C5A3-45E6-B5BB-8C5E-63B301718219}"/>
              </a:ext>
            </a:extLst>
          </p:cNvPr>
          <p:cNvSpPr/>
          <p:nvPr/>
        </p:nvSpPr>
        <p:spPr>
          <a:xfrm>
            <a:off x="5064456" y="1501479"/>
            <a:ext cx="3436453" cy="4503335"/>
          </a:xfrm>
          <a:prstGeom prst="triangle">
            <a:avLst>
              <a:gd name="adj" fmla="val 0"/>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Isosceles Triangle 8">
            <a:extLst>
              <a:ext uri="{FF2B5EF4-FFF2-40B4-BE49-F238E27FC236}">
                <a16:creationId xmlns:a16="http://schemas.microsoft.com/office/drawing/2014/main" id="{51E8EEBB-2B5F-95BD-14DC-A22ED29D7AC8}"/>
              </a:ext>
            </a:extLst>
          </p:cNvPr>
          <p:cNvSpPr/>
          <p:nvPr/>
        </p:nvSpPr>
        <p:spPr>
          <a:xfrm rot="10800000">
            <a:off x="5064456" y="1501477"/>
            <a:ext cx="3436453" cy="4503337"/>
          </a:xfrm>
          <a:prstGeom prst="triangle">
            <a:avLst>
              <a:gd name="adj" fmla="val 0"/>
            </a:avLst>
          </a:prstGeom>
          <a:solidFill>
            <a:srgbClr val="D3D3D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 name="TextBox 9">
            <a:extLst>
              <a:ext uri="{FF2B5EF4-FFF2-40B4-BE49-F238E27FC236}">
                <a16:creationId xmlns:a16="http://schemas.microsoft.com/office/drawing/2014/main" id="{4A5FCA05-F2FA-DF89-3FDC-9B1B066AF166}"/>
              </a:ext>
            </a:extLst>
          </p:cNvPr>
          <p:cNvSpPr txBox="1"/>
          <p:nvPr/>
        </p:nvSpPr>
        <p:spPr>
          <a:xfrm>
            <a:off x="7379031" y="1541399"/>
            <a:ext cx="1013098" cy="369332"/>
          </a:xfrm>
          <a:prstGeom prst="rect">
            <a:avLst/>
          </a:prstGeom>
          <a:noFill/>
        </p:spPr>
        <p:txBody>
          <a:bodyPr wrap="none" lIns="0" rIns="0" rtlCol="0">
            <a:spAutoFit/>
          </a:bodyPr>
          <a:lstStyle/>
          <a:p>
            <a:pPr algn="l">
              <a:spcBef>
                <a:spcPts val="600"/>
              </a:spcBef>
            </a:pPr>
            <a:r>
              <a:rPr lang="en-US" dirty="0">
                <a:solidFill>
                  <a:srgbClr val="6F7878"/>
                </a:solidFill>
                <a:latin typeface="+mj-lt"/>
              </a:rPr>
              <a:t>Scope 3</a:t>
            </a:r>
          </a:p>
        </p:txBody>
      </p:sp>
      <p:sp>
        <p:nvSpPr>
          <p:cNvPr id="11" name="TextBox 10">
            <a:extLst>
              <a:ext uri="{FF2B5EF4-FFF2-40B4-BE49-F238E27FC236}">
                <a16:creationId xmlns:a16="http://schemas.microsoft.com/office/drawing/2014/main" id="{9D8CC175-0091-D5AB-10D2-859D89984B2D}"/>
              </a:ext>
            </a:extLst>
          </p:cNvPr>
          <p:cNvSpPr txBox="1"/>
          <p:nvPr/>
        </p:nvSpPr>
        <p:spPr>
          <a:xfrm>
            <a:off x="5169231" y="5593906"/>
            <a:ext cx="705321" cy="369332"/>
          </a:xfrm>
          <a:prstGeom prst="rect">
            <a:avLst/>
          </a:prstGeom>
          <a:noFill/>
        </p:spPr>
        <p:txBody>
          <a:bodyPr wrap="none" lIns="0" rIns="0" rtlCol="0">
            <a:spAutoFit/>
          </a:bodyPr>
          <a:lstStyle/>
          <a:p>
            <a:pPr algn="l">
              <a:spcBef>
                <a:spcPts val="600"/>
              </a:spcBef>
            </a:pPr>
            <a:r>
              <a:rPr lang="en-US" dirty="0">
                <a:solidFill>
                  <a:srgbClr val="6F7878"/>
                </a:solidFill>
                <a:latin typeface="+mj-lt"/>
              </a:rPr>
              <a:t>Other</a:t>
            </a:r>
          </a:p>
        </p:txBody>
      </p:sp>
      <p:sp>
        <p:nvSpPr>
          <p:cNvPr id="12" name="TextBox 11">
            <a:extLst>
              <a:ext uri="{FF2B5EF4-FFF2-40B4-BE49-F238E27FC236}">
                <a16:creationId xmlns:a16="http://schemas.microsoft.com/office/drawing/2014/main" id="{2032E770-A312-E119-C3BC-68DB378BD79E}"/>
              </a:ext>
            </a:extLst>
          </p:cNvPr>
          <p:cNvSpPr txBox="1"/>
          <p:nvPr/>
        </p:nvSpPr>
        <p:spPr>
          <a:xfrm>
            <a:off x="5874552" y="1142963"/>
            <a:ext cx="1825972" cy="338554"/>
          </a:xfrm>
          <a:prstGeom prst="rect">
            <a:avLst/>
          </a:prstGeom>
          <a:noFill/>
        </p:spPr>
        <p:txBody>
          <a:bodyPr wrap="square" lIns="0" rIns="0" rtlCol="0">
            <a:spAutoFit/>
          </a:bodyPr>
          <a:lstStyle/>
          <a:p>
            <a:pPr algn="ctr">
              <a:spcBef>
                <a:spcPts val="600"/>
              </a:spcBef>
            </a:pPr>
            <a:r>
              <a:rPr lang="en-US" sz="1600" b="1" dirty="0"/>
              <a:t>Domain Expertise</a:t>
            </a:r>
          </a:p>
        </p:txBody>
      </p:sp>
      <p:sp>
        <p:nvSpPr>
          <p:cNvPr id="14" name="TextBox 13">
            <a:extLst>
              <a:ext uri="{FF2B5EF4-FFF2-40B4-BE49-F238E27FC236}">
                <a16:creationId xmlns:a16="http://schemas.microsoft.com/office/drawing/2014/main" id="{5B663FAD-C2DD-6347-18B5-24EF7E415986}"/>
              </a:ext>
            </a:extLst>
          </p:cNvPr>
          <p:cNvSpPr txBox="1"/>
          <p:nvPr/>
        </p:nvSpPr>
        <p:spPr>
          <a:xfrm>
            <a:off x="1913904" y="1142963"/>
            <a:ext cx="1530333" cy="338554"/>
          </a:xfrm>
          <a:prstGeom prst="rect">
            <a:avLst/>
          </a:prstGeom>
          <a:noFill/>
        </p:spPr>
        <p:txBody>
          <a:bodyPr wrap="square" lIns="0" rIns="0" rtlCol="0">
            <a:spAutoFit/>
          </a:bodyPr>
          <a:lstStyle/>
          <a:p>
            <a:pPr algn="ctr">
              <a:spcBef>
                <a:spcPts val="600"/>
              </a:spcBef>
            </a:pPr>
            <a:r>
              <a:rPr lang="en-US" sz="1600" b="1" dirty="0"/>
              <a:t>Solution Type</a:t>
            </a:r>
          </a:p>
        </p:txBody>
      </p:sp>
      <p:sp>
        <p:nvSpPr>
          <p:cNvPr id="15" name="TextBox 14">
            <a:extLst>
              <a:ext uri="{FF2B5EF4-FFF2-40B4-BE49-F238E27FC236}">
                <a16:creationId xmlns:a16="http://schemas.microsoft.com/office/drawing/2014/main" id="{EF2726E2-0722-7459-BD44-064B483FC9F7}"/>
              </a:ext>
            </a:extLst>
          </p:cNvPr>
          <p:cNvSpPr txBox="1"/>
          <p:nvPr/>
        </p:nvSpPr>
        <p:spPr>
          <a:xfrm>
            <a:off x="9490098" y="2482587"/>
            <a:ext cx="2287165" cy="1892826"/>
          </a:xfrm>
          <a:prstGeom prst="rect">
            <a:avLst/>
          </a:prstGeom>
          <a:noFill/>
        </p:spPr>
        <p:txBody>
          <a:bodyPr wrap="none" lIns="0" rIns="0" rtlCol="0">
            <a:spAutoFit/>
          </a:bodyPr>
          <a:lstStyle/>
          <a:p>
            <a:pPr algn="l">
              <a:spcBef>
                <a:spcPts val="600"/>
              </a:spcBef>
              <a:spcAft>
                <a:spcPts val="1200"/>
              </a:spcAft>
            </a:pPr>
            <a:r>
              <a:rPr lang="en-US" dirty="0">
                <a:latin typeface="+mj-lt"/>
              </a:rPr>
              <a:t>Primary focus </a:t>
            </a:r>
          </a:p>
          <a:p>
            <a:pPr algn="l">
              <a:spcBef>
                <a:spcPts val="600"/>
              </a:spcBef>
              <a:spcAft>
                <a:spcPts val="1200"/>
              </a:spcAft>
            </a:pPr>
            <a:r>
              <a:rPr lang="en-US" dirty="0">
                <a:latin typeface="+mj-lt"/>
              </a:rPr>
              <a:t>Value statements</a:t>
            </a:r>
          </a:p>
          <a:p>
            <a:pPr algn="l">
              <a:spcBef>
                <a:spcPts val="600"/>
              </a:spcBef>
              <a:spcAft>
                <a:spcPts val="1200"/>
              </a:spcAft>
            </a:pPr>
            <a:r>
              <a:rPr lang="en-US" dirty="0">
                <a:latin typeface="+mj-lt"/>
              </a:rPr>
              <a:t>Modules offered</a:t>
            </a:r>
          </a:p>
          <a:p>
            <a:pPr algn="l">
              <a:spcBef>
                <a:spcPts val="600"/>
              </a:spcBef>
              <a:spcAft>
                <a:spcPts val="1200"/>
              </a:spcAft>
            </a:pPr>
            <a:r>
              <a:rPr lang="en-US" dirty="0">
                <a:latin typeface="+mj-lt"/>
              </a:rPr>
              <a:t>Capabilities listed</a:t>
            </a:r>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434578E6-D655-D95B-BF73-9C110B151DC2}"/>
              </a:ext>
            </a:extLst>
          </p:cNvPr>
          <p:cNvPicPr>
            <a:picLocks noChangeAspect="1"/>
          </p:cNvPicPr>
          <p:nvPr/>
        </p:nvPicPr>
        <p:blipFill>
          <a:blip r:embed="rId3"/>
          <a:stretch>
            <a:fillRect/>
          </a:stretch>
        </p:blipFill>
        <p:spPr>
          <a:xfrm>
            <a:off x="9086851" y="2518328"/>
            <a:ext cx="285749" cy="280736"/>
          </a:xfrm>
          <a:prstGeom prst="rect">
            <a:avLst/>
          </a:prstGeom>
        </p:spPr>
      </p:pic>
      <p:pic>
        <p:nvPicPr>
          <p:cNvPr id="18" name="Picture 17" descr="A black background with a black square&#10;&#10;Description automatically generated with medium confidence">
            <a:extLst>
              <a:ext uri="{FF2B5EF4-FFF2-40B4-BE49-F238E27FC236}">
                <a16:creationId xmlns:a16="http://schemas.microsoft.com/office/drawing/2014/main" id="{B4F9CF25-CE1B-22C6-7586-1B76DF5CD392}"/>
              </a:ext>
            </a:extLst>
          </p:cNvPr>
          <p:cNvPicPr>
            <a:picLocks noChangeAspect="1"/>
          </p:cNvPicPr>
          <p:nvPr/>
        </p:nvPicPr>
        <p:blipFill>
          <a:blip r:embed="rId3"/>
          <a:stretch>
            <a:fillRect/>
          </a:stretch>
        </p:blipFill>
        <p:spPr>
          <a:xfrm>
            <a:off x="9086851" y="3034169"/>
            <a:ext cx="285749" cy="280736"/>
          </a:xfrm>
          <a:prstGeom prst="rect">
            <a:avLst/>
          </a:prstGeom>
        </p:spPr>
      </p:pic>
      <p:pic>
        <p:nvPicPr>
          <p:cNvPr id="19" name="Picture 18" descr="A black background with a black square&#10;&#10;Description automatically generated with medium confidence">
            <a:extLst>
              <a:ext uri="{FF2B5EF4-FFF2-40B4-BE49-F238E27FC236}">
                <a16:creationId xmlns:a16="http://schemas.microsoft.com/office/drawing/2014/main" id="{821141B5-86D3-4979-DF93-37EF8F27F685}"/>
              </a:ext>
            </a:extLst>
          </p:cNvPr>
          <p:cNvPicPr>
            <a:picLocks noChangeAspect="1"/>
          </p:cNvPicPr>
          <p:nvPr/>
        </p:nvPicPr>
        <p:blipFill>
          <a:blip r:embed="rId3"/>
          <a:stretch>
            <a:fillRect/>
          </a:stretch>
        </p:blipFill>
        <p:spPr>
          <a:xfrm>
            <a:off x="9086851" y="3550010"/>
            <a:ext cx="285749" cy="280736"/>
          </a:xfrm>
          <a:prstGeom prst="rect">
            <a:avLst/>
          </a:prstGeom>
        </p:spPr>
      </p:pic>
      <p:pic>
        <p:nvPicPr>
          <p:cNvPr id="20" name="Picture 19" descr="A black background with a black square&#10;&#10;Description automatically generated with medium confidence">
            <a:extLst>
              <a:ext uri="{FF2B5EF4-FFF2-40B4-BE49-F238E27FC236}">
                <a16:creationId xmlns:a16="http://schemas.microsoft.com/office/drawing/2014/main" id="{0C1629D8-3F98-2AD5-A00D-0A0435A3F9E2}"/>
              </a:ext>
            </a:extLst>
          </p:cNvPr>
          <p:cNvPicPr>
            <a:picLocks noChangeAspect="1"/>
          </p:cNvPicPr>
          <p:nvPr/>
        </p:nvPicPr>
        <p:blipFill>
          <a:blip r:embed="rId3"/>
          <a:stretch>
            <a:fillRect/>
          </a:stretch>
        </p:blipFill>
        <p:spPr>
          <a:xfrm>
            <a:off x="9086851" y="4051019"/>
            <a:ext cx="285749" cy="280736"/>
          </a:xfrm>
          <a:prstGeom prst="rect">
            <a:avLst/>
          </a:prstGeom>
        </p:spPr>
      </p:pic>
    </p:spTree>
    <p:extLst>
      <p:ext uri="{BB962C8B-B14F-4D97-AF65-F5344CB8AC3E}">
        <p14:creationId xmlns:p14="http://schemas.microsoft.com/office/powerpoint/2010/main" val="835705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10" presetClass="entr" presetSubtype="0" fill="hold"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par>
                                <p:cTn id="47" presetID="10" presetClass="entr" presetSubtype="0" fill="hold"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8" grpId="0" animBg="1"/>
      <p:bldP spid="9" grpId="0" animBg="1"/>
      <p:bldP spid="10" grpId="0"/>
      <p:bldP spid="11" grpId="0"/>
      <p:bldP spid="12" grpId="0"/>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EF310-D7D1-BFDD-BC21-1B323728987C}"/>
              </a:ext>
            </a:extLst>
          </p:cNvPr>
          <p:cNvSpPr>
            <a:spLocks noGrp="1"/>
          </p:cNvSpPr>
          <p:nvPr>
            <p:ph type="title"/>
          </p:nvPr>
        </p:nvSpPr>
        <p:spPr/>
        <p:txBody>
          <a:bodyPr/>
          <a:lstStyle/>
          <a:p>
            <a:r>
              <a:rPr lang="en-US" dirty="0"/>
              <a:t>What do These Solutions Have in Common?</a:t>
            </a:r>
          </a:p>
        </p:txBody>
      </p:sp>
      <p:pic>
        <p:nvPicPr>
          <p:cNvPr id="1034" name="Picture 10" descr="Operational Risk Maturity Model Tool - Sphera">
            <a:extLst>
              <a:ext uri="{FF2B5EF4-FFF2-40B4-BE49-F238E27FC236}">
                <a16:creationId xmlns:a16="http://schemas.microsoft.com/office/drawing/2014/main" id="{614FA36D-0B3A-32AA-936D-4450E7166E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2412" y="2668281"/>
            <a:ext cx="2222102" cy="74070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7C30387C-AB27-1B3A-FCB3-8B87B593F7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0171" y="4076055"/>
            <a:ext cx="1486584" cy="64283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Novartis Roundtable">
            <a:extLst>
              <a:ext uri="{FF2B5EF4-FFF2-40B4-BE49-F238E27FC236}">
                <a16:creationId xmlns:a16="http://schemas.microsoft.com/office/drawing/2014/main" id="{39FE9DC0-37EF-C00B-48C2-95ADC3B68C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0171" y="5217165"/>
            <a:ext cx="1486584" cy="53517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44359DE0-6038-0FDB-39A2-1C439343F55C}"/>
              </a:ext>
            </a:extLst>
          </p:cNvPr>
          <p:cNvGrpSpPr/>
          <p:nvPr/>
        </p:nvGrpSpPr>
        <p:grpSpPr>
          <a:xfrm>
            <a:off x="1365449" y="1501416"/>
            <a:ext cx="2676028" cy="666701"/>
            <a:chOff x="957688" y="1698289"/>
            <a:chExt cx="2505745" cy="624277"/>
          </a:xfrm>
        </p:grpSpPr>
        <p:pic>
          <p:nvPicPr>
            <p:cNvPr id="1032" name="Picture 8" descr="carbmee GmbH">
              <a:extLst>
                <a:ext uri="{FF2B5EF4-FFF2-40B4-BE49-F238E27FC236}">
                  <a16:creationId xmlns:a16="http://schemas.microsoft.com/office/drawing/2014/main" id="{57CF6442-1F0A-5776-74FD-6537F6473A8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3447" t="8804" r="34562" b="40329"/>
            <a:stretch/>
          </p:blipFill>
          <p:spPr bwMode="auto">
            <a:xfrm>
              <a:off x="957688" y="1698289"/>
              <a:ext cx="580102" cy="6242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arbmee GmbH">
              <a:extLst>
                <a:ext uri="{FF2B5EF4-FFF2-40B4-BE49-F238E27FC236}">
                  <a16:creationId xmlns:a16="http://schemas.microsoft.com/office/drawing/2014/main" id="{DF91C597-C423-A4D1-2D73-20BF631E579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2559"/>
            <a:stretch/>
          </p:blipFill>
          <p:spPr bwMode="auto">
            <a:xfrm>
              <a:off x="1438794" y="1809527"/>
              <a:ext cx="2024639" cy="513039"/>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TextBox 13">
            <a:extLst>
              <a:ext uri="{FF2B5EF4-FFF2-40B4-BE49-F238E27FC236}">
                <a16:creationId xmlns:a16="http://schemas.microsoft.com/office/drawing/2014/main" id="{B1228949-7DA4-4B66-FAB6-E686E200F87E}"/>
              </a:ext>
            </a:extLst>
          </p:cNvPr>
          <p:cNvSpPr txBox="1"/>
          <p:nvPr/>
        </p:nvSpPr>
        <p:spPr>
          <a:xfrm>
            <a:off x="5913097" y="5149086"/>
            <a:ext cx="5820116" cy="1092607"/>
          </a:xfrm>
          <a:prstGeom prst="rect">
            <a:avLst/>
          </a:prstGeom>
          <a:noFill/>
        </p:spPr>
        <p:txBody>
          <a:bodyPr wrap="square">
            <a:spAutoFit/>
          </a:bodyPr>
          <a:lstStyle>
            <a:defPPr>
              <a:defRPr lang="en-US"/>
            </a:defPPr>
            <a:lvl1pPr>
              <a:defRPr b="0" i="0">
                <a:solidFill>
                  <a:srgbClr val="002856"/>
                </a:solidFill>
                <a:effectLst/>
              </a:defRPr>
            </a:lvl1pPr>
          </a:lstStyle>
          <a:p>
            <a:pPr algn="r"/>
            <a:r>
              <a:rPr lang="en-US" i="1" dirty="0"/>
              <a:t>Leverage the power of Supplier Collaboration &amp; Innovation to drive sustainable business growt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Arial"/>
                <a:ea typeface="+mn-ea"/>
                <a:cs typeface="+mn-cs"/>
              </a:rPr>
              <a:t>Source: </a:t>
            </a:r>
            <a:r>
              <a:rPr kumimoji="0" lang="en-US" sz="1100" b="0" i="0" u="none" strike="noStrike" kern="1200" cap="none" spc="0" normalizeH="0" baseline="0" noProof="0" dirty="0">
                <a:ln>
                  <a:noFill/>
                </a:ln>
                <a:solidFill>
                  <a:prstClr val="black">
                    <a:lumMod val="50000"/>
                    <a:lumOff val="50000"/>
                  </a:prstClr>
                </a:solidFill>
                <a:effectLst/>
                <a:uLnTx/>
                <a:uFillTx/>
                <a:latin typeface="Arial"/>
                <a:ea typeface="+mn-ea"/>
                <a:cs typeface="+mn-cs"/>
                <a:hlinkClick r:id="rId7">
                  <a:extLst>
                    <a:ext uri="{A12FA001-AC4F-418D-AE19-62706E023703}">
                      <ahyp:hlinkClr xmlns:ahyp="http://schemas.microsoft.com/office/drawing/2018/hyperlinkcolor" val="tx"/>
                    </a:ext>
                  </a:extLst>
                </a:hlinkClick>
              </a:rPr>
              <a:t>Vizibl</a:t>
            </a:r>
            <a:endParaRPr kumimoji="0" lang="en-US" sz="1600" b="0" i="0" u="none" strike="noStrike" kern="1200" cap="none" spc="0" normalizeH="0" baseline="0" noProof="0" dirty="0">
              <a:ln>
                <a:noFill/>
              </a:ln>
              <a:solidFill>
                <a:srgbClr val="002856"/>
              </a:solidFill>
              <a:effectLst/>
              <a:uLnTx/>
              <a:uFillTx/>
              <a:latin typeface="Arial"/>
              <a:ea typeface="+mn-ea"/>
              <a:cs typeface="+mn-cs"/>
            </a:endParaRPr>
          </a:p>
          <a:p>
            <a:pPr algn="r"/>
            <a:endParaRPr lang="en-US" dirty="0"/>
          </a:p>
        </p:txBody>
      </p:sp>
      <p:sp>
        <p:nvSpPr>
          <p:cNvPr id="16" name="TextBox 15">
            <a:extLst>
              <a:ext uri="{FF2B5EF4-FFF2-40B4-BE49-F238E27FC236}">
                <a16:creationId xmlns:a16="http://schemas.microsoft.com/office/drawing/2014/main" id="{2B301939-32BA-95A4-1A5E-C064927352F2}"/>
              </a:ext>
            </a:extLst>
          </p:cNvPr>
          <p:cNvSpPr txBox="1"/>
          <p:nvPr/>
        </p:nvSpPr>
        <p:spPr>
          <a:xfrm>
            <a:off x="5332072" y="1660411"/>
            <a:ext cx="6401141" cy="553998"/>
          </a:xfrm>
          <a:prstGeom prst="rect">
            <a:avLst/>
          </a:prstGeom>
          <a:noFill/>
        </p:spPr>
        <p:txBody>
          <a:bodyPr wrap="square">
            <a:spAutoFit/>
          </a:bodyPr>
          <a:lstStyle>
            <a:defPPr>
              <a:defRPr lang="en-US"/>
            </a:defPPr>
            <a:lvl1pPr>
              <a:defRPr b="0" i="0">
                <a:solidFill>
                  <a:srgbClr val="002856"/>
                </a:solidFill>
                <a:effectLst/>
              </a:defRPr>
            </a:lvl1pPr>
          </a:lstStyle>
          <a:p>
            <a:pPr algn="r"/>
            <a:r>
              <a:rPr lang="en-US" i="1" dirty="0"/>
              <a:t>The carbon management solution for complex supply chains</a:t>
            </a:r>
            <a:r>
              <a:rPr lang="en-US" sz="1800" i="1" dirty="0">
                <a:solidFill>
                  <a:schemeClr val="tx1">
                    <a:lumMod val="50000"/>
                    <a:lumOff val="50000"/>
                  </a:schemeClr>
                </a:solidFill>
              </a:rPr>
              <a:t> </a:t>
            </a:r>
            <a:r>
              <a:rPr lang="en-US" sz="1100" dirty="0">
                <a:solidFill>
                  <a:prstClr val="black">
                    <a:lumMod val="50000"/>
                    <a:lumOff val="50000"/>
                  </a:prstClr>
                </a:solidFill>
                <a:latin typeface="Arial"/>
              </a:rPr>
              <a:t>Source: </a:t>
            </a:r>
            <a:r>
              <a:rPr lang="en-US" sz="1100" dirty="0">
                <a:solidFill>
                  <a:prstClr val="black">
                    <a:lumMod val="50000"/>
                    <a:lumOff val="50000"/>
                  </a:prstClr>
                </a:solidFill>
                <a:latin typeface="Arial"/>
                <a:hlinkClick r:id="rId8">
                  <a:extLst>
                    <a:ext uri="{A12FA001-AC4F-418D-AE19-62706E023703}">
                      <ahyp:hlinkClr xmlns:ahyp="http://schemas.microsoft.com/office/drawing/2018/hyperlinkcolor" val="tx"/>
                    </a:ext>
                  </a:extLst>
                </a:hlinkClick>
              </a:rPr>
              <a:t>Carbmee</a:t>
            </a:r>
            <a:endParaRPr lang="en-US" sz="1100" dirty="0">
              <a:solidFill>
                <a:prstClr val="black">
                  <a:lumMod val="50000"/>
                  <a:lumOff val="50000"/>
                </a:prstClr>
              </a:solidFill>
              <a:latin typeface="Arial"/>
            </a:endParaRPr>
          </a:p>
        </p:txBody>
      </p:sp>
      <p:sp>
        <p:nvSpPr>
          <p:cNvPr id="20" name="TextBox 19">
            <a:extLst>
              <a:ext uri="{FF2B5EF4-FFF2-40B4-BE49-F238E27FC236}">
                <a16:creationId xmlns:a16="http://schemas.microsoft.com/office/drawing/2014/main" id="{52EEF298-D66A-9F1F-92EA-FCD126E84B8C}"/>
              </a:ext>
            </a:extLst>
          </p:cNvPr>
          <p:cNvSpPr txBox="1"/>
          <p:nvPr/>
        </p:nvSpPr>
        <p:spPr>
          <a:xfrm>
            <a:off x="6551272" y="4029764"/>
            <a:ext cx="5181941" cy="830997"/>
          </a:xfrm>
          <a:prstGeom prst="rect">
            <a:avLst/>
          </a:prstGeom>
          <a:noFill/>
        </p:spPr>
        <p:txBody>
          <a:bodyPr wrap="square">
            <a:spAutoFit/>
          </a:bodyPr>
          <a:lstStyle/>
          <a:p>
            <a:pPr algn="r"/>
            <a:r>
              <a:rPr lang="en-US" b="0" i="1" dirty="0">
                <a:solidFill>
                  <a:srgbClr val="002856"/>
                </a:solidFill>
                <a:effectLst/>
              </a:rPr>
              <a:t>A Single Platform to Efficiently Manage All Supplier Relationships and Spend</a:t>
            </a:r>
            <a:r>
              <a:rPr kumimoji="0" lang="en-US" sz="1200" b="0" i="1" u="none" strike="noStrike" kern="1200" cap="none" spc="0" normalizeH="0" baseline="0" noProof="0" dirty="0">
                <a:ln>
                  <a:noFill/>
                </a:ln>
                <a:solidFill>
                  <a:prstClr val="black">
                    <a:lumMod val="50000"/>
                    <a:lumOff val="50000"/>
                  </a:prstClr>
                </a:solidFill>
                <a:effectLst/>
                <a:uLnTx/>
                <a:uFillTx/>
                <a:latin typeface="Arial"/>
                <a:ea typeface="+mn-ea"/>
                <a:cs typeface="+mn-cs"/>
              </a:rPr>
              <a:t> </a:t>
            </a:r>
          </a:p>
          <a:p>
            <a:pPr algn="r"/>
            <a:r>
              <a:rPr kumimoji="0" lang="en-US" sz="1100" b="0" i="0" u="none" strike="noStrike" kern="1200" cap="none" spc="0" normalizeH="0" baseline="0" noProof="0" dirty="0">
                <a:ln>
                  <a:noFill/>
                </a:ln>
                <a:solidFill>
                  <a:prstClr val="black">
                    <a:lumMod val="50000"/>
                    <a:lumOff val="50000"/>
                  </a:prstClr>
                </a:solidFill>
                <a:effectLst/>
                <a:uLnTx/>
                <a:uFillTx/>
                <a:latin typeface="Arial"/>
                <a:ea typeface="+mn-ea"/>
                <a:cs typeface="+mn-cs"/>
              </a:rPr>
              <a:t>Source: </a:t>
            </a:r>
            <a:r>
              <a:rPr kumimoji="0" lang="en-US" sz="1100" b="0" i="0" u="none" strike="noStrike" kern="1200" cap="none" spc="0" normalizeH="0" baseline="0" noProof="0" dirty="0">
                <a:ln>
                  <a:noFill/>
                </a:ln>
                <a:solidFill>
                  <a:prstClr val="black">
                    <a:lumMod val="50000"/>
                    <a:lumOff val="50000"/>
                  </a:prstClr>
                </a:solidFill>
                <a:effectLst/>
                <a:uLnTx/>
                <a:uFillTx/>
                <a:latin typeface="Arial"/>
                <a:ea typeface="+mn-ea"/>
                <a:cs typeface="+mn-cs"/>
                <a:hlinkClick r:id="rId9">
                  <a:extLst>
                    <a:ext uri="{A12FA001-AC4F-418D-AE19-62706E023703}">
                      <ahyp:hlinkClr xmlns:ahyp="http://schemas.microsoft.com/office/drawing/2018/hyperlinkcolor" val="tx"/>
                    </a:ext>
                  </a:extLst>
                </a:hlinkClick>
              </a:rPr>
              <a:t>Ivalua</a:t>
            </a:r>
            <a:endParaRPr lang="en-US" sz="1600" b="0" i="0" dirty="0">
              <a:solidFill>
                <a:srgbClr val="002856"/>
              </a:solidFill>
              <a:effectLst/>
            </a:endParaRPr>
          </a:p>
        </p:txBody>
      </p:sp>
      <p:sp>
        <p:nvSpPr>
          <p:cNvPr id="22" name="TextBox 21">
            <a:extLst>
              <a:ext uri="{FF2B5EF4-FFF2-40B4-BE49-F238E27FC236}">
                <a16:creationId xmlns:a16="http://schemas.microsoft.com/office/drawing/2014/main" id="{6D48F9C5-97F5-3B01-6C31-B052CBAAE8A0}"/>
              </a:ext>
            </a:extLst>
          </p:cNvPr>
          <p:cNvSpPr txBox="1"/>
          <p:nvPr/>
        </p:nvSpPr>
        <p:spPr>
          <a:xfrm>
            <a:off x="4676775" y="2633443"/>
            <a:ext cx="7056438" cy="1107996"/>
          </a:xfrm>
          <a:prstGeom prst="rect">
            <a:avLst/>
          </a:prstGeom>
          <a:noFill/>
        </p:spPr>
        <p:txBody>
          <a:bodyPr wrap="square">
            <a:spAutoFit/>
          </a:bodyPr>
          <a:lstStyle>
            <a:defPPr>
              <a:defRPr lang="en-US"/>
            </a:defPPr>
            <a:lvl1pPr>
              <a:defRPr b="0" i="0">
                <a:solidFill>
                  <a:srgbClr val="002856"/>
                </a:solidFill>
                <a:effectLst/>
              </a:defRPr>
            </a:lvl1pPr>
          </a:lstStyle>
          <a:p>
            <a:pPr algn="r"/>
            <a:r>
              <a:rPr lang="en-US" i="1" dirty="0"/>
              <a:t>Improve Environmental, Social and Governance (ESG) performance and risk management with integrated              software, data and consulting solutions</a:t>
            </a:r>
            <a:r>
              <a:rPr lang="en-US" dirty="0"/>
              <a:t> </a:t>
            </a:r>
          </a:p>
          <a:p>
            <a:pPr algn="r"/>
            <a:r>
              <a:rPr lang="en-US" sz="1100" dirty="0">
                <a:solidFill>
                  <a:prstClr val="black">
                    <a:lumMod val="50000"/>
                    <a:lumOff val="50000"/>
                  </a:prstClr>
                </a:solidFill>
                <a:latin typeface="Arial"/>
              </a:rPr>
              <a:t>Source: </a:t>
            </a:r>
            <a:r>
              <a:rPr lang="en-US" sz="1100" dirty="0">
                <a:solidFill>
                  <a:prstClr val="black">
                    <a:lumMod val="50000"/>
                    <a:lumOff val="50000"/>
                  </a:prstClr>
                </a:solidFill>
                <a:latin typeface="Arial"/>
                <a:hlinkClick r:id="rId10">
                  <a:extLst>
                    <a:ext uri="{A12FA001-AC4F-418D-AE19-62706E023703}">
                      <ahyp:hlinkClr xmlns:ahyp="http://schemas.microsoft.com/office/drawing/2018/hyperlinkcolor" val="tx"/>
                    </a:ext>
                  </a:extLst>
                </a:hlinkClick>
              </a:rPr>
              <a:t>Sphera</a:t>
            </a:r>
            <a:endParaRPr lang="en-US" sz="1100" dirty="0">
              <a:solidFill>
                <a:prstClr val="black">
                  <a:lumMod val="50000"/>
                  <a:lumOff val="50000"/>
                </a:prstClr>
              </a:solidFill>
              <a:latin typeface="Arial"/>
            </a:endParaRPr>
          </a:p>
        </p:txBody>
      </p:sp>
    </p:spTree>
    <p:extLst>
      <p:ext uri="{BB962C8B-B14F-4D97-AF65-F5344CB8AC3E}">
        <p14:creationId xmlns:p14="http://schemas.microsoft.com/office/powerpoint/2010/main" val="1272890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8724B-D716-D09A-F901-BCF10D599FD2}"/>
              </a:ext>
            </a:extLst>
          </p:cNvPr>
          <p:cNvSpPr>
            <a:spLocks noGrp="1"/>
          </p:cNvSpPr>
          <p:nvPr>
            <p:ph type="title"/>
          </p:nvPr>
        </p:nvSpPr>
        <p:spPr>
          <a:xfrm>
            <a:off x="2057400" y="1527048"/>
            <a:ext cx="4910328" cy="2935224"/>
          </a:xfrm>
        </p:spPr>
        <p:txBody>
          <a:bodyPr wrap="square" anchor="ctr">
            <a:normAutofit/>
          </a:bodyPr>
          <a:lstStyle/>
          <a:p>
            <a:r>
              <a:rPr lang="en-US" dirty="0"/>
              <a:t>How can Digital Solutions Help?</a:t>
            </a:r>
          </a:p>
        </p:txBody>
      </p:sp>
    </p:spTree>
    <p:extLst>
      <p:ext uri="{BB962C8B-B14F-4D97-AF65-F5344CB8AC3E}">
        <p14:creationId xmlns:p14="http://schemas.microsoft.com/office/powerpoint/2010/main" val="30213750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squar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EE11AC78-36D6-4677-B48D-4A7902079EDF}"/>
    </a:ext>
  </a:extLst>
</a:theme>
</file>

<file path=ppt/theme/theme2.xml><?xml version="1.0" encoding="utf-8"?>
<a:theme xmlns:a="http://schemas.openxmlformats.org/drawingml/2006/main" name="Blu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2021_DEFAULT V-EVENTS MASTER-2020-1229.potx" id="{436981CC-19AC-4481-8E5E-24538504A289}" vid="{DDBD924B-8BAA-499A-95CF-368D39884C9B}"/>
    </a:ext>
  </a:extLst>
</a:theme>
</file>

<file path=ppt/theme/theme3.xml><?xml version="1.0" encoding="utf-8"?>
<a:theme xmlns:a="http://schemas.openxmlformats.org/drawingml/2006/main" name="1_White bkgrnd master">
  <a:themeElements>
    <a:clrScheme name="2020 Gartner Theme-003">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6F7878"/>
          </a:solidFill>
          <a:prstDash val="solid"/>
          <a:round/>
          <a:headEnd type="none" w="lg" len="med"/>
          <a:tailEnd type="none" w="lg" len="med"/>
        </a:ln>
      </a:spPr>
      <a:bodyPr/>
      <a:lstStyle/>
    </a:lnDef>
    <a:txDef>
      <a:spPr>
        <a:noFill/>
      </a:spPr>
      <a:bodyPr wrap="none" lIns="0" rIns="0" rtlCol="0">
        <a:spAutoFit/>
      </a:bodyPr>
      <a:lstStyle>
        <a:defPPr algn="l">
          <a:spcBef>
            <a:spcPts val="600"/>
          </a:spcBef>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Link Blue">
      <a:srgbClr val="0052D6"/>
    </a:custClr>
  </a:custClrLst>
  <a:extLst>
    <a:ext uri="{05A4C25C-085E-4340-85A3-A5531E510DB2}">
      <thm15:themeFamily xmlns:thm15="http://schemas.microsoft.com/office/thememl/2012/main" name="Gartner_Corporate_PPT_Template_16x9.potx" id="{32B46400-CF51-4A33-BE93-032EBD09209C}" vid="{AB8827A0-F702-4494-B1D3-4B40365FEC6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d8ad68a-24c3-4344-9246-0609c5d09668">
      <Terms xmlns="http://schemas.microsoft.com/office/infopath/2007/PartnerControls"/>
    </lcf76f155ced4ddcb4097134ff3c332f>
    <TaxCatchAll xmlns="4b08e952-091c-4d92-812a-2ad1cf10989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B837DC8F9290A418E83C763194AB534" ma:contentTypeVersion="17" ma:contentTypeDescription="Create a new document." ma:contentTypeScope="" ma:versionID="15567ed84b1641830172d49576aa4fd9">
  <xsd:schema xmlns:xsd="http://www.w3.org/2001/XMLSchema" xmlns:xs="http://www.w3.org/2001/XMLSchema" xmlns:p="http://schemas.microsoft.com/office/2006/metadata/properties" xmlns:ns2="cd8ad68a-24c3-4344-9246-0609c5d09668" xmlns:ns3="4b08e952-091c-4d92-812a-2ad1cf10989c" targetNamespace="http://schemas.microsoft.com/office/2006/metadata/properties" ma:root="true" ma:fieldsID="726da3dad46e65c1ec371768b9ca0126" ns2:_="" ns3:_="">
    <xsd:import namespace="cd8ad68a-24c3-4344-9246-0609c5d09668"/>
    <xsd:import namespace="4b08e952-091c-4d92-812a-2ad1cf10989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8ad68a-24c3-4344-9246-0609c5d096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af5e99b-f45a-473e-9035-af188538fb0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b08e952-091c-4d92-812a-2ad1cf1098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f8ff4a1-c36f-4758-a8c2-a9bbe31f6d42}" ma:internalName="TaxCatchAll" ma:showField="CatchAllData" ma:web="4b08e952-091c-4d92-812a-2ad1cf1098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EB1FB5-A491-4F66-B58F-9376BA20F03D}">
  <ds:schemaRefs>
    <ds:schemaRef ds:uri="http://schemas.microsoft.com/office/2006/documentManagement/types"/>
    <ds:schemaRef ds:uri="http://purl.org/dc/dcmitype/"/>
    <ds:schemaRef ds:uri="http://purl.org/dc/elements/1.1/"/>
    <ds:schemaRef ds:uri="4b08e952-091c-4d92-812a-2ad1cf10989c"/>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cd8ad68a-24c3-4344-9246-0609c5d09668"/>
    <ds:schemaRef ds:uri="http://purl.org/dc/terms/"/>
  </ds:schemaRefs>
</ds:datastoreItem>
</file>

<file path=customXml/itemProps2.xml><?xml version="1.0" encoding="utf-8"?>
<ds:datastoreItem xmlns:ds="http://schemas.openxmlformats.org/officeDocument/2006/customXml" ds:itemID="{89F27E4D-BC4D-45F5-91EE-0C2BC2FEBF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8ad68a-24c3-4344-9246-0609c5d09668"/>
    <ds:schemaRef ds:uri="4b08e952-091c-4d92-812a-2ad1cf1098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A80ACD-2112-4627-B477-C367C14FDA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1_DEFAULT V-EVENTS MASTER-2020-1229</Template>
  <TotalTime>10962</TotalTime>
  <Words>2036</Words>
  <Application>Microsoft Office PowerPoint</Application>
  <PresentationFormat>Widescreen</PresentationFormat>
  <Paragraphs>345</Paragraphs>
  <Slides>30</Slides>
  <Notes>2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0" baseType="lpstr">
      <vt:lpstr>Graphik</vt:lpstr>
      <vt:lpstr>Arial</vt:lpstr>
      <vt:lpstr>Arial Black</vt:lpstr>
      <vt:lpstr>Calibri</vt:lpstr>
      <vt:lpstr>Times New Roman</vt:lpstr>
      <vt:lpstr>Wingdings</vt:lpstr>
      <vt:lpstr>White bkgrnd master</vt:lpstr>
      <vt:lpstr>Blue bkgrnd master</vt:lpstr>
      <vt:lpstr>1_White bkgrnd master</vt:lpstr>
      <vt:lpstr>think-cell Slide</vt:lpstr>
      <vt:lpstr>Navigating the Technology Landscape for Scope 3 Solutions</vt:lpstr>
      <vt:lpstr>PowerPoint Presentation</vt:lpstr>
      <vt:lpstr>Definitions</vt:lpstr>
      <vt:lpstr>Today’s Agenda</vt:lpstr>
      <vt:lpstr>What types of digital solutions are available in the market?</vt:lpstr>
      <vt:lpstr>What do These Solutions Have in Common?</vt:lpstr>
      <vt:lpstr>Solution Types Available – and How to Spot Them</vt:lpstr>
      <vt:lpstr>What do These Solutions Have in Common?</vt:lpstr>
      <vt:lpstr>How can Digital Solutions Help?</vt:lpstr>
      <vt:lpstr>Outcomes Enabled and Key Capabilities Offered</vt:lpstr>
      <vt:lpstr>There’s no silver bullet. 55% expect to use two or more tools to manage their Scope 3 program</vt:lpstr>
      <vt:lpstr>How to Choose a Digital Solution for Scope 3</vt:lpstr>
      <vt:lpstr>Six Steps for Choosing a Solution</vt:lpstr>
      <vt:lpstr>Six Steps for Choosing a Solution</vt:lpstr>
      <vt:lpstr>PowerPoint Presentation</vt:lpstr>
      <vt:lpstr>Capabilities Will Vary Across Solution Types</vt:lpstr>
      <vt:lpstr>Six Steps for Choosing a Solution</vt:lpstr>
      <vt:lpstr>Finding the Set of Vendors to Approach</vt:lpstr>
      <vt:lpstr>Prioritize Peer and Supplier Input to Shortlist Fewer and Better Vendor Options</vt:lpstr>
      <vt:lpstr>Six Steps for Choosing a Solution</vt:lpstr>
      <vt:lpstr>Better Questions Yield Better Answers During RFP</vt:lpstr>
      <vt:lpstr>Six Steps for Choosing a Solution</vt:lpstr>
      <vt:lpstr>Moving Beyond Standard Demos</vt:lpstr>
      <vt:lpstr>Your Digital Goodie Bag</vt:lpstr>
      <vt:lpstr>Six Steps for Choosing a Solution</vt:lpstr>
      <vt:lpstr>Beyond Tool Features: Key Elements to Assess</vt:lpstr>
      <vt:lpstr>Six Steps for Choosing a Solution</vt:lpstr>
      <vt:lpstr>Uncover Hidden Costs Upfront to Avoid Surprises</vt:lpstr>
      <vt:lpstr>Six Steps for Choosing a Solution</vt:lpstr>
      <vt:lpstr>Questions? Miguel.cossio@gartner.co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 Enders</dc:creator>
  <cp:keywords/>
  <cp:lastModifiedBy>Miguel Cossio</cp:lastModifiedBy>
  <cp:revision>10</cp:revision>
  <dcterms:created xsi:type="dcterms:W3CDTF">2023-03-13T12:16:00Z</dcterms:created>
  <dcterms:modified xsi:type="dcterms:W3CDTF">2024-01-20T20:5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B837DC8F9290A418E83C763194AB534</vt:lpwstr>
  </property>
</Properties>
</file>